
<file path=[Content_Types].xml><?xml version="1.0" encoding="utf-8"?>
<Types xmlns="http://schemas.openxmlformats.org/package/2006/content-types">
  <Default Extension="png" ContentType="image/png"/>
  <Default Extension="xlsm" ContentType="application/vnd.ms-excel.sheet.macroEnabled.12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drawings/drawing1.xml" ContentType="application/vnd.openxmlformats-officedocument.drawingml.chartshapes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6" r:id="rId2"/>
    <p:sldId id="267" r:id="rId3"/>
    <p:sldId id="263" r:id="rId4"/>
    <p:sldId id="265" r:id="rId5"/>
    <p:sldId id="264" r:id="rId6"/>
    <p:sldId id="268" r:id="rId7"/>
    <p:sldId id="257" r:id="rId8"/>
    <p:sldId id="258" r:id="rId9"/>
    <p:sldId id="259" r:id="rId10"/>
    <p:sldId id="260" r:id="rId1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-161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111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1111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1111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1111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5.xlsm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&#1050;&#1085;&#1080;&#1075;&#1072;1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211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123287671232901"/>
          <c:y val="1.4326647564469899E-2"/>
          <c:w val="0.69178082191780799"/>
          <c:h val="0.9742120343839539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63AAFE"/>
            </a:solidFill>
            <a:ln w="12953">
              <a:noFill/>
              <a:prstDash val="solid"/>
            </a:ln>
          </c:spPr>
          <c:invertIfNegative val="0"/>
          <c:dPt>
            <c:idx val="14"/>
            <c:invertIfNegative val="0"/>
            <c:bubble3D val="0"/>
            <c:spPr>
              <a:solidFill>
                <a:srgbClr val="DD2D32"/>
              </a:solidFill>
              <a:ln w="12953">
                <a:noFill/>
                <a:prstDash val="solid"/>
              </a:ln>
            </c:spPr>
          </c:dPt>
          <c:dLbls>
            <c:dLbl>
              <c:idx val="0"/>
              <c:layout>
                <c:manualLayout>
                  <c:x val="0.114706331970445"/>
                  <c:y val="4.2634260081350399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6.9134586219865707E-2"/>
                  <c:y val="1.240820277055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35677347342367999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7.9802482316829002E-2"/>
                  <c:y val="2.4816405541118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4370976547808260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114746126687939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.153700787401575"/>
                  <c:y val="1.6066218527025999E-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.113963335476748"/>
                  <c:y val="2.707701857766569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7.7225531708382394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.11682709923201"/>
                  <c:y val="2.1317130040675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906">
                <a:noFill/>
              </a:ln>
            </c:spPr>
            <c:txPr>
              <a:bodyPr/>
              <a:lstStyle/>
              <a:p>
                <a:pPr>
                  <a:defRPr sz="918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""0"";""\-""#\ ##0"";""0""</c:formatCode>
                <c:ptCount val="10"/>
                <c:pt idx="0" formatCode="&quot;&quot;#\ ##0.0&quot;&quot;;&quot;&quot;\-&quot;&quot;#\ ##0.0&quot;&quot;;&quot;&quot;0&quot;&quot;">
                  <c:v>0.61468352413563199</c:v>
                </c:pt>
                <c:pt idx="1">
                  <c:v>4.45932867763561E-2</c:v>
                </c:pt>
                <c:pt idx="2" formatCode="&quot;&quot;#\ ##0.0&quot;&quot;;&quot;&quot;\-&quot;&quot;#\ ##0.0&quot;&quot;;&quot;&quot;0&quot;&quot;">
                  <c:v>2.194696025649217</c:v>
                </c:pt>
                <c:pt idx="3" formatCode="&quot;&quot;#\ ##0.0&quot;&quot;;&quot;&quot;\-&quot;&quot;#\ ##0.0&quot;&quot;;&quot;&quot;0&quot;&quot;">
                  <c:v>0.26669487936344599</c:v>
                </c:pt>
                <c:pt idx="4" formatCode="&quot;&quot;#\ ##0.0&quot;&quot;;&quot;&quot;\-&quot;&quot;#\ ##0.0&quot;&quot;;&quot;&quot;0&quot;&quot;">
                  <c:v>3.0655093241349558</c:v>
                </c:pt>
                <c:pt idx="5" formatCode="&quot;&quot;#\ ##0.0&quot;&quot;;&quot;&quot;\-&quot;&quot;#\ ##0.0&quot;&quot;;&quot;&quot;0&quot;&quot;">
                  <c:v>0.59512199365503504</c:v>
                </c:pt>
                <c:pt idx="6" formatCode="&quot;&quot;#\ ##0.0&quot;&quot;;&quot;&quot;\-&quot;&quot;#\ ##0.0&quot;&quot;;&quot;&quot;0&quot;&quot;">
                  <c:v>0.92325333740909599</c:v>
                </c:pt>
                <c:pt idx="7" formatCode="&quot;&quot;#\ ##0.0&quot;&quot;;&quot;&quot;\-&quot;&quot;#\ ##0.0&quot;&quot;;&quot;&quot;0&quot;&quot;">
                  <c:v>0.58776869779690899</c:v>
                </c:pt>
                <c:pt idx="8" formatCode="&quot;&quot;#\ ##0.0&quot;&quot;;&quot;&quot;\-&quot;&quot;#\ ##0.0&quot;&quot;;&quot;&quot;0&quot;&quot;">
                  <c:v>0.242474075838156</c:v>
                </c:pt>
                <c:pt idx="9" formatCode="&quot;&quot;#\ ##0.0&quot;&quot;;&quot;&quot;\-&quot;&quot;#\ ##0.0&quot;&quot;;&quot;&quot;0&quot;&quot;">
                  <c:v>0.614683524135631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01060736"/>
        <c:axId val="201063040"/>
      </c:barChart>
      <c:catAx>
        <c:axId val="20106073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38859">
            <a:solidFill>
              <a:srgbClr val="000000"/>
            </a:solidFill>
            <a:prstDash val="solid"/>
          </a:ln>
        </c:spPr>
        <c:crossAx val="20106304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201063040"/>
        <c:scaling>
          <c:orientation val="minMax"/>
          <c:max val="3.0655093241400002"/>
          <c:min val="-0.18546473430999999"/>
        </c:scaling>
        <c:delete val="0"/>
        <c:axPos val="t"/>
        <c:numFmt formatCode="&quot;&quot;#\ ##0.0&quot;&quot;;&quot;&quot;\-&quot;&quot;#\ ##0.0&quot;&quot;;&quot;&quot;0&quot;&quot;" sourceLinked="1"/>
        <c:majorTickMark val="none"/>
        <c:minorTickMark val="none"/>
        <c:tickLblPos val="none"/>
        <c:spPr>
          <a:ln w="9715">
            <a:noFill/>
          </a:ln>
        </c:spPr>
        <c:crossAx val="201060736"/>
        <c:crosses val="autoZero"/>
        <c:crossBetween val="between"/>
      </c:valAx>
      <c:spPr>
        <a:noFill/>
        <a:ln w="2590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24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992125984251995E-2"/>
          <c:y val="1.4326647564469899E-2"/>
          <c:w val="0.77952755905511795"/>
          <c:h val="0.9742120343839539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63AAFE"/>
            </a:solidFill>
            <a:ln w="12910">
              <a:noFill/>
              <a:prstDash val="solid"/>
            </a:ln>
          </c:spPr>
          <c:invertIfNegative val="0"/>
          <c:dPt>
            <c:idx val="14"/>
            <c:invertIfNegative val="0"/>
            <c:bubble3D val="0"/>
            <c:spPr>
              <a:solidFill>
                <a:srgbClr val="DD2D32"/>
              </a:solidFill>
              <a:ln w="12910">
                <a:noFill/>
                <a:prstDash val="solid"/>
              </a:ln>
            </c:spPr>
          </c:dPt>
          <c:dLbls>
            <c:dLbl>
              <c:idx val="0"/>
              <c:layout>
                <c:manualLayout>
                  <c:x val="0.25643491656226802"/>
                  <c:y val="6.42943756570741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14110569002343301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44098253079120198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16452155509577601"/>
                  <c:y val="6.4294375660348697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44902272675320698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.227539608600071"/>
                  <c:y val="-7.484850433725699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.15288805333145999"/>
                  <c:y val="3.2147187828303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0.2546920656797200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.12181055779591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819">
                <a:noFill/>
              </a:ln>
            </c:spPr>
            <c:txPr>
              <a:bodyPr/>
              <a:lstStyle/>
              <a:p>
                <a:pPr>
                  <a:defRPr sz="915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6</c:f>
              <c:numCache>
                <c:formatCode>General</c:formatCode>
                <c:ptCount val="15"/>
              </c:numCache>
            </c:numRef>
          </c:cat>
          <c:val>
            <c:numRef>
              <c:f>Sheet1!$B$2:$B$11</c:f>
              <c:numCache>
                <c:formatCode>""#\ ##0.0"";""\-""#\ ##0.0"";""0""</c:formatCode>
                <c:ptCount val="10"/>
                <c:pt idx="0">
                  <c:v>4.3084670079152492</c:v>
                </c:pt>
                <c:pt idx="1">
                  <c:v>1.282936713669204</c:v>
                </c:pt>
                <c:pt idx="2">
                  <c:v>8.2025280512698195</c:v>
                </c:pt>
                <c:pt idx="3">
                  <c:v>1.8464400646036041</c:v>
                </c:pt>
                <c:pt idx="4">
                  <c:v>9.0465219454435104</c:v>
                </c:pt>
                <c:pt idx="5">
                  <c:v>1.910234510846748</c:v>
                </c:pt>
                <c:pt idx="6">
                  <c:v>3.90583259893751</c:v>
                </c:pt>
                <c:pt idx="7">
                  <c:v>1.8444686558099259</c:v>
                </c:pt>
                <c:pt idx="8">
                  <c:v>4.2073600159944107</c:v>
                </c:pt>
                <c:pt idx="9">
                  <c:v>1.61618235317565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9371392"/>
        <c:axId val="65261568"/>
      </c:barChart>
      <c:catAx>
        <c:axId val="493713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38729">
            <a:solidFill>
              <a:srgbClr val="000000"/>
            </a:solidFill>
            <a:prstDash val="solid"/>
          </a:ln>
        </c:spPr>
        <c:crossAx val="6526156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65261568"/>
        <c:scaling>
          <c:orientation val="minMax"/>
          <c:max val="9.0465219454499977"/>
          <c:min val="0"/>
        </c:scaling>
        <c:delete val="0"/>
        <c:axPos val="t"/>
        <c:numFmt formatCode="&quot;&quot;#\ ##0.0&quot;&quot;;&quot;&quot;\-&quot;&quot;#\ ##0.0&quot;&quot;;&quot;&quot;0&quot;&quot;" sourceLinked="1"/>
        <c:majorTickMark val="none"/>
        <c:minorTickMark val="none"/>
        <c:tickLblPos val="none"/>
        <c:spPr>
          <a:ln w="9682">
            <a:noFill/>
          </a:ln>
        </c:spPr>
        <c:crossAx val="49371392"/>
        <c:crosses val="autoZero"/>
        <c:crossBetween val="between"/>
      </c:valAx>
      <c:spPr>
        <a:noFill/>
        <a:ln w="2581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20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492063492063502E-2"/>
          <c:y val="1.7094017094017099E-2"/>
          <c:w val="0.79365079365079405"/>
          <c:h val="0.9743589743589740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63AAFE"/>
            </a:solidFill>
            <a:ln w="12952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4.2362914577090899E-3"/>
                  <c:y val="4.589272491511930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48429971459135E-2"/>
                  <c:y val="2.80875104296804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5813496088413599E-2"/>
                  <c:y val="3.8770204201374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36338499120881E-3"/>
                  <c:y val="2.0964989715932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7.8414573468759095E-3"/>
                  <c:y val="3.15765499760645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17407792343047E-2"/>
                  <c:y val="1.38424690021937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53450219558254E-2"/>
                  <c:y val="2.452516277388679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6.8021935640656898E-3"/>
                  <c:y val="6.7199482884455698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1.3034279819214E-2"/>
                  <c:y val="4.589267055016829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3.6280666904510098E-3"/>
                  <c:y val="2.8087456064738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0.94924456834692195"/>
                  <c:y val="3.87701498364311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0.94924456834692195"/>
                  <c:y val="2.0964935350987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0.95718107628342997"/>
                  <c:y val="3.1576006326616802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0.94924456834692195"/>
                  <c:y val="1.38424146372495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delete val="1"/>
            </c:dLbl>
            <c:spPr>
              <a:noFill/>
              <a:ln w="25904">
                <a:noFill/>
              </a:ln>
            </c:spPr>
            <c:txPr>
              <a:bodyPr/>
              <a:lstStyle/>
              <a:p>
                <a:pPr>
                  <a:defRPr sz="918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""#\ ##0"";""\-""#\ ##0"";""0""</c:formatCode>
                <c:ptCount val="10"/>
                <c:pt idx="0" formatCode="General">
                  <c:v>19</c:v>
                </c:pt>
                <c:pt idx="1">
                  <c:v>31.700000000003602</c:v>
                </c:pt>
                <c:pt idx="2">
                  <c:v>22.31542400000254</c:v>
                </c:pt>
                <c:pt idx="3">
                  <c:v>18.92521100000215</c:v>
                </c:pt>
                <c:pt idx="4">
                  <c:v>18.82700000000214</c:v>
                </c:pt>
                <c:pt idx="5">
                  <c:v>14.86174524718067</c:v>
                </c:pt>
                <c:pt idx="6">
                  <c:v>11.83570800000134</c:v>
                </c:pt>
                <c:pt idx="7">
                  <c:v>11.811488823475459</c:v>
                </c:pt>
                <c:pt idx="8">
                  <c:v>5.0864180000005668</c:v>
                </c:pt>
                <c:pt idx="9">
                  <c:v>3.4427251350631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DD2D32"/>
            </a:solidFill>
            <a:ln w="12952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8.2394407170323595E-3"/>
                  <c:y val="1.47313117074565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4126741159959399E-3"/>
                  <c:y val="2.5416125712046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7.8769881519057394E-3"/>
                  <c:y val="3.60988194837364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7.7837526793376197E-3"/>
                  <c:y val="1.82936049983048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9.6691152194481305E-3"/>
                  <c:y val="4.8627027996794899E-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01744268629616E-2"/>
                  <c:y val="3.966111277458489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55184971979544E-2"/>
                  <c:y val="2.18537780562499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47387015005737E-2"/>
                  <c:y val="4.0485635708176199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1.3034279819214E-2"/>
                  <c:y val="4.3221285832543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3.6280666904510098E-3"/>
                  <c:y val="2.54160713470973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0.95718107628342997"/>
                  <c:y val="7.6087366287735903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0.94924456834692195"/>
                  <c:y val="1.82935506333615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0.95718107628342997"/>
                  <c:y val="2.89762444050544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0.94924456834692195"/>
                  <c:y val="1.11710299196111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0.94924456834692195"/>
                  <c:y val="2.18537236913052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904">
                <a:noFill/>
              </a:ln>
            </c:spPr>
            <c:txPr>
              <a:bodyPr/>
              <a:lstStyle/>
              <a:p>
                <a:pPr>
                  <a:defRPr sz="918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""#\ ##0"";""\-""#\ ##0"";""0""</c:formatCode>
                <c:ptCount val="10"/>
                <c:pt idx="0">
                  <c:v>11.551900000001311</c:v>
                </c:pt>
                <c:pt idx="1">
                  <c:v>13.221169000001501</c:v>
                </c:pt>
                <c:pt idx="2">
                  <c:v>22.31542400000254</c:v>
                </c:pt>
                <c:pt idx="3">
                  <c:v>8.3637100000009497</c:v>
                </c:pt>
                <c:pt idx="4">
                  <c:v>15.09600000000172</c:v>
                </c:pt>
                <c:pt idx="5">
                  <c:v>7.8252000000008897</c:v>
                </c:pt>
                <c:pt idx="6">
                  <c:v>6.1366520000006961</c:v>
                </c:pt>
                <c:pt idx="7">
                  <c:v>11.811488823475459</c:v>
                </c:pt>
                <c:pt idx="8">
                  <c:v>5.0864180000005703</c:v>
                </c:pt>
                <c:pt idx="9">
                  <c:v>3.4427251350631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25418112"/>
        <c:axId val="125428096"/>
      </c:barChart>
      <c:catAx>
        <c:axId val="1254181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38855">
            <a:solidFill>
              <a:srgbClr val="000000"/>
            </a:solidFill>
            <a:prstDash val="solid"/>
          </a:ln>
        </c:spPr>
        <c:crossAx val="12542809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25428096"/>
        <c:scaling>
          <c:orientation val="minMax"/>
          <c:max val="31.7"/>
          <c:min val="0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9714">
            <a:noFill/>
          </a:ln>
        </c:spPr>
        <c:crossAx val="125418112"/>
        <c:crosses val="autoZero"/>
        <c:crossBetween val="between"/>
      </c:valAx>
      <c:spPr>
        <a:noFill/>
        <a:ln w="2590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24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07920792079195E-2"/>
          <c:y val="1.97628458498024E-2"/>
          <c:w val="0.77227722772277196"/>
          <c:h val="0.9683794466403160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dLbl>
              <c:idx val="0"/>
              <c:layout>
                <c:manualLayout>
                  <c:x val="0.31590709228403202"/>
                  <c:y val="9.340472105657509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layout>
                <c:manualLayout>
                  <c:x val="0.25887688611380799"/>
                  <c:y val="9.340571604320500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29392638397698001"/>
                  <c:y val="1.329304244619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29392638397698001"/>
                  <c:y val="9.340671102983970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>
                    <a:latin typeface="Verdana"/>
                    <a:cs typeface="Verdana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""#\ ##0"";""\-""#\ ##0"";""0""</c:formatCode>
                <c:ptCount val="5"/>
                <c:pt idx="0">
                  <c:v>57.000000000006473</c:v>
                </c:pt>
                <c:pt idx="1">
                  <c:v>100</c:v>
                </c:pt>
                <c:pt idx="2">
                  <c:v>41.000000000004647</c:v>
                </c:pt>
                <c:pt idx="3">
                  <c:v>55.000000000006253</c:v>
                </c:pt>
                <c:pt idx="4">
                  <c:v>55.0000000000062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33755648"/>
        <c:axId val="133757184"/>
      </c:barChart>
      <c:catAx>
        <c:axId val="13375564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crossAx val="1337571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33757184"/>
        <c:scaling>
          <c:orientation val="minMax"/>
          <c:max val="100"/>
          <c:min val="0"/>
        </c:scaling>
        <c:delete val="0"/>
        <c:axPos val="t"/>
        <c:numFmt formatCode="&quot;&quot;#\ ##0&quot;&quot;;&quot;&quot;\-&quot;&quot;#\ ##0&quot;&quot;;&quot;&quot;0&quot;&quot;" sourceLinked="1"/>
        <c:majorTickMark val="none"/>
        <c:minorTickMark val="none"/>
        <c:tickLblPos val="none"/>
        <c:crossAx val="133755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07920792079195E-2"/>
          <c:y val="1.97628458498024E-2"/>
          <c:w val="0.71287128712871295"/>
          <c:h val="0.9683794466403160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tx2">
                <a:lumMod val="50000"/>
                <a:lumOff val="50000"/>
              </a:schemeClr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dLbl>
              <c:idx val="0"/>
              <c:layout>
                <c:manualLayout>
                  <c:x val="0.41552746231067"/>
                  <c:y val="9.340472105657509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268575659392354"/>
                  <c:y val="1.32929429475277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44679357320518298"/>
                  <c:y val="9.340571604320500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37331802924970497"/>
                  <c:y val="1.329304244619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41552746231067"/>
                  <c:y val="9.340671102983970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>
                    <a:latin typeface="Verdana"/>
                    <a:cs typeface="Verdana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""#\ ##0"";""\-""#\ ##0"";""0""</c:formatCode>
                <c:ptCount val="5"/>
                <c:pt idx="0">
                  <c:v>35.000000000003979</c:v>
                </c:pt>
                <c:pt idx="1">
                  <c:v>19.00000000000216</c:v>
                </c:pt>
                <c:pt idx="2">
                  <c:v>38.00000000000432</c:v>
                </c:pt>
                <c:pt idx="3">
                  <c:v>30.000000000003411</c:v>
                </c:pt>
                <c:pt idx="4">
                  <c:v>35.0000000000039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33833472"/>
        <c:axId val="133835008"/>
      </c:barChart>
      <c:catAx>
        <c:axId val="1338334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crossAx val="1338350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33835008"/>
        <c:scaling>
          <c:orientation val="minMax"/>
          <c:max val="38"/>
          <c:min val="0"/>
        </c:scaling>
        <c:delete val="0"/>
        <c:axPos val="t"/>
        <c:numFmt formatCode="&quot;&quot;#\ ##0&quot;&quot;;&quot;&quot;\-&quot;&quot;#\ ##0&quot;&quot;;&quot;&quot;0&quot;&quot;" sourceLinked="1"/>
        <c:majorTickMark val="none"/>
        <c:minorTickMark val="none"/>
        <c:tickLblPos val="none"/>
        <c:crossAx val="1338334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FF4040"/>
              </a:solidFill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mtClean="0"/>
                      <a:t>9</a:t>
                    </a:r>
                    <a:r>
                      <a:rPr lang="en-US" smtClean="0"/>
                      <a:t>,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C$4:$C$9</c:f>
              <c:strCache>
                <c:ptCount val="6"/>
                <c:pt idx="0">
                  <c:v>Москва</c:v>
                </c:pt>
                <c:pt idx="1">
                  <c:v>Лондон</c:v>
                </c:pt>
                <c:pt idx="2">
                  <c:v>Нью-Йорк</c:v>
                </c:pt>
                <c:pt idx="3">
                  <c:v>Париж</c:v>
                </c:pt>
                <c:pt idx="4">
                  <c:v>Берлин</c:v>
                </c:pt>
                <c:pt idx="5">
                  <c:v>Токио</c:v>
                </c:pt>
              </c:strCache>
            </c:strRef>
          </c:cat>
          <c:val>
            <c:numRef>
              <c:f>Лист1!$D$4:$D$9</c:f>
              <c:numCache>
                <c:formatCode>General</c:formatCode>
                <c:ptCount val="6"/>
                <c:pt idx="0">
                  <c:v>3.3</c:v>
                </c:pt>
                <c:pt idx="1">
                  <c:v>0.3</c:v>
                </c:pt>
                <c:pt idx="2">
                  <c:v>12.4</c:v>
                </c:pt>
                <c:pt idx="3">
                  <c:v>15</c:v>
                </c:pt>
                <c:pt idx="4">
                  <c:v>9.6</c:v>
                </c:pt>
                <c:pt idx="5">
                  <c:v>1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157760"/>
        <c:axId val="65238528"/>
      </c:barChart>
      <c:catAx>
        <c:axId val="65157760"/>
        <c:scaling>
          <c:orientation val="minMax"/>
        </c:scaling>
        <c:delete val="0"/>
        <c:axPos val="l"/>
        <c:majorTickMark val="out"/>
        <c:minorTickMark val="none"/>
        <c:tickLblPos val="nextTo"/>
        <c:crossAx val="65238528"/>
        <c:crosses val="autoZero"/>
        <c:auto val="1"/>
        <c:lblAlgn val="ctr"/>
        <c:lblOffset val="100"/>
        <c:noMultiLvlLbl val="0"/>
      </c:catAx>
      <c:valAx>
        <c:axId val="65238528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6515776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dPt>
            <c:idx val="4"/>
            <c:invertIfNegative val="0"/>
            <c:bubble3D val="0"/>
            <c:spPr>
              <a:solidFill>
                <a:srgbClr val="FF4040"/>
              </a:solidFill>
            </c:spPr>
          </c:dPt>
          <c:cat>
            <c:strRef>
              <c:f>Лист1!$A$2:$A$6</c:f>
              <c:strCache>
                <c:ptCount val="5"/>
                <c:pt idx="0">
                  <c:v>Токио</c:v>
                </c:pt>
                <c:pt idx="1">
                  <c:v>Париж</c:v>
                </c:pt>
                <c:pt idx="2">
                  <c:v>Лондон</c:v>
                </c:pt>
                <c:pt idx="3">
                  <c:v>Берлин</c:v>
                </c:pt>
                <c:pt idx="4">
                  <c:v>Москва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0.7</c:v>
                </c:pt>
                <c:pt idx="1">
                  <c:v>1.4</c:v>
                </c:pt>
                <c:pt idx="2">
                  <c:v>1.2</c:v>
                </c:pt>
                <c:pt idx="3">
                  <c:v>1.5</c:v>
                </c:pt>
                <c:pt idx="4">
                  <c:v>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3608192"/>
        <c:axId val="93633536"/>
      </c:barChart>
      <c:catAx>
        <c:axId val="9360819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93633536"/>
        <c:crosses val="autoZero"/>
        <c:auto val="1"/>
        <c:lblAlgn val="ctr"/>
        <c:lblOffset val="100"/>
        <c:noMultiLvlLbl val="0"/>
      </c:catAx>
      <c:valAx>
        <c:axId val="93633536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936081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96</cdr:x>
      <cdr:y>0.63897</cdr:y>
    </cdr:from>
    <cdr:to>
      <cdr:x>0.55633</cdr:x>
      <cdr:y>0.68916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765515" y="1471645"/>
          <a:ext cx="1368152" cy="115607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/>
        </a:solidFill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58463</cdr:x>
      <cdr:y>0.63897</cdr:y>
    </cdr:from>
    <cdr:to>
      <cdr:x>0.69238</cdr:x>
      <cdr:y>0.71798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242221" y="1471645"/>
          <a:ext cx="413241" cy="1819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91440" tIns="45720" rIns="91440" bIns="45720" rtlCol="0" anchor="ctr"/>
        <a:lstStyle xmlns:a="http://schemas.openxmlformats.org/drawingml/2006/main"/>
        <a:p xmlns:a="http://schemas.openxmlformats.org/drawingml/2006/main">
          <a:pPr algn="l"/>
          <a:r>
            <a:rPr lang="ru-RU" sz="1000" dirty="0" smtClean="0"/>
            <a:t>9,3</a:t>
          </a: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3989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2897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52214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f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0" y="497246"/>
            <a:ext cx="9144000" cy="410482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</p:spPr>
        <p:txBody>
          <a:bodyPr lIns="65270" tIns="32635" rIns="65270" bIns="32635" anchor="ctr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Slide Number Placeholder 27"/>
          <p:cNvSpPr>
            <a:spLocks noGrp="1"/>
          </p:cNvSpPr>
          <p:nvPr>
            <p:ph type="sldNum" sz="quarter" idx="15"/>
          </p:nvPr>
        </p:nvSpPr>
        <p:spPr>
          <a:xfrm>
            <a:off x="303336" y="6356351"/>
            <a:ext cx="1315915" cy="365125"/>
          </a:xfrm>
        </p:spPr>
        <p:txBody>
          <a:bodyPr/>
          <a:lstStyle>
            <a:lvl1pPr algn="l">
              <a:defRPr sz="900">
                <a:latin typeface="Verdana"/>
                <a:cs typeface="Verdana"/>
              </a:defRPr>
            </a:lvl1pPr>
          </a:lstStyle>
          <a:p>
            <a:pPr>
              <a:defRPr/>
            </a:pPr>
            <a:fld id="{4D8E078F-C780-1448-B644-99E10216B88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90126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908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2756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78606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411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3748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2188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4583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6087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BEA2EF-F3CE-494C-A081-7779D0DB5B68}" type="datetimeFigureOut">
              <a:rPr lang="ru-RU" smtClean="0"/>
              <a:t>24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606A9A-24DD-4186-B0B2-A6BA56DA9C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24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chart" Target="../charts/chart1.xml"/><Relationship Id="rId63" Type="http://schemas.openxmlformats.org/officeDocument/2006/relationships/image" Target="../media/image6.jpeg"/><Relationship Id="rId68" Type="http://schemas.openxmlformats.org/officeDocument/2006/relationships/image" Target="../media/image11.pn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image" Target="../media/image1.jpeg"/><Relationship Id="rId66" Type="http://schemas.openxmlformats.org/officeDocument/2006/relationships/image" Target="../media/image9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chart" Target="../charts/chart3.xml"/><Relationship Id="rId61" Type="http://schemas.openxmlformats.org/officeDocument/2006/relationships/image" Target="../media/image4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image" Target="../media/image3.jpeg"/><Relationship Id="rId65" Type="http://schemas.openxmlformats.org/officeDocument/2006/relationships/image" Target="../media/image8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chart" Target="../charts/chart2.xml"/><Relationship Id="rId64" Type="http://schemas.openxmlformats.org/officeDocument/2006/relationships/image" Target="../media/image7.jpe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image" Target="../media/image2.jpeg"/><Relationship Id="rId67" Type="http://schemas.openxmlformats.org/officeDocument/2006/relationships/image" Target="../media/image10.emf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slideLayout" Target="../slideLayouts/slideLayout12.xml"/><Relationship Id="rId62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image" Target="../media/image14.png"/><Relationship Id="rId3" Type="http://schemas.openxmlformats.org/officeDocument/2006/relationships/tags" Target="../tags/tag56.xml"/><Relationship Id="rId21" Type="http://schemas.openxmlformats.org/officeDocument/2006/relationships/chart" Target="../charts/chart4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13.png"/><Relationship Id="rId2" Type="http://schemas.openxmlformats.org/officeDocument/2006/relationships/tags" Target="../tags/tag55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image" Target="../media/image11.png"/><Relationship Id="rId5" Type="http://schemas.openxmlformats.org/officeDocument/2006/relationships/tags" Target="../tags/tag58.xml"/><Relationship Id="rId15" Type="http://schemas.openxmlformats.org/officeDocument/2006/relationships/slideLayout" Target="../slideLayouts/slideLayout12.xml"/><Relationship Id="rId23" Type="http://schemas.openxmlformats.org/officeDocument/2006/relationships/image" Target="../media/image10.emf"/><Relationship Id="rId10" Type="http://schemas.openxmlformats.org/officeDocument/2006/relationships/tags" Target="../tags/tag63.xml"/><Relationship Id="rId19" Type="http://schemas.openxmlformats.org/officeDocument/2006/relationships/image" Target="../media/image15.png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chart" Target="../charts/char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Москва и мировые города: общая характеристи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4D8E078F-C780-1448-B644-99E10216B886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  <p:sp>
        <p:nvSpPr>
          <p:cNvPr id="7" name="McK 4.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4458" y="6288243"/>
            <a:ext cx="844155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r>
              <a:rPr lang="ru-RU" sz="800" dirty="0" smtClean="0">
                <a:latin typeface="Verdana"/>
                <a:cs typeface="Verdana"/>
              </a:rPr>
              <a:t>1 </a:t>
            </a:r>
            <a:r>
              <a:rPr lang="en-US" sz="800" dirty="0">
                <a:latin typeface="Verdana"/>
                <a:cs typeface="Verdana"/>
              </a:rPr>
              <a:t>MGI </a:t>
            </a:r>
            <a:r>
              <a:rPr lang="ru-RU" sz="800" dirty="0">
                <a:latin typeface="Verdana"/>
                <a:cs typeface="Verdana"/>
              </a:rPr>
              <a:t>использует определение агломерации </a:t>
            </a:r>
            <a:r>
              <a:rPr lang="en-US" sz="800" dirty="0">
                <a:latin typeface="Verdana"/>
                <a:cs typeface="Verdana"/>
              </a:rPr>
              <a:t>Eurostat ESPON </a:t>
            </a:r>
            <a:r>
              <a:rPr lang="ru-RU" sz="800" dirty="0">
                <a:latin typeface="Verdana"/>
                <a:cs typeface="Verdana"/>
              </a:rPr>
              <a:t>для европейских городов, бюро экономического анализа США для </a:t>
            </a:r>
            <a:r>
              <a:rPr lang="ru-RU" sz="800" dirty="0" smtClean="0">
                <a:latin typeface="Verdana"/>
                <a:cs typeface="Verdana"/>
              </a:rPr>
              <a:t>американских</a:t>
            </a:r>
            <a:endParaRPr lang="en-US" sz="800" dirty="0">
              <a:latin typeface="Verdana"/>
              <a:cs typeface="Verdana"/>
            </a:endParaRPr>
          </a:p>
        </p:txBody>
      </p:sp>
      <p:sp>
        <p:nvSpPr>
          <p:cNvPr id="8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3865" y="6483361"/>
            <a:ext cx="70025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51601" indent="-651601" defTabSz="957040">
              <a:tabLst>
                <a:tab pos="654995" algn="l"/>
              </a:tabLst>
            </a:pPr>
            <a:r>
              <a:rPr lang="ru-RU" sz="800" dirty="0">
                <a:solidFill>
                  <a:srgbClr val="000000"/>
                </a:solidFill>
                <a:latin typeface="Verdana"/>
                <a:cs typeface="Verdana"/>
              </a:rPr>
              <a:t>ИСТОЧНИК</a:t>
            </a:r>
            <a:r>
              <a:rPr lang="en-US" sz="800" dirty="0">
                <a:solidFill>
                  <a:srgbClr val="000000"/>
                </a:solidFill>
                <a:latin typeface="Verdana"/>
                <a:cs typeface="Verdana"/>
              </a:rPr>
              <a:t>: </a:t>
            </a:r>
            <a:r>
              <a:rPr lang="ru-RU" sz="800" dirty="0">
                <a:solidFill>
                  <a:srgbClr val="000000"/>
                </a:solidFill>
                <a:latin typeface="Verdana"/>
                <a:cs typeface="Verdana"/>
              </a:rPr>
              <a:t>исследование института </a:t>
            </a:r>
            <a:r>
              <a:rPr lang="en-US" sz="800" dirty="0">
                <a:solidFill>
                  <a:srgbClr val="000000"/>
                </a:solidFill>
                <a:latin typeface="Verdana"/>
                <a:cs typeface="Verdana"/>
              </a:rPr>
              <a:t>MGI;</a:t>
            </a:r>
            <a:r>
              <a:rPr lang="ru-RU" sz="800" dirty="0">
                <a:solidFill>
                  <a:srgbClr val="000000"/>
                </a:solidFill>
                <a:latin typeface="Verdana"/>
                <a:cs typeface="Verdana"/>
              </a:rPr>
              <a:t> </a:t>
            </a:r>
            <a:r>
              <a:rPr lang="ru-RU" sz="800" dirty="0" err="1">
                <a:solidFill>
                  <a:srgbClr val="000000"/>
                </a:solidFill>
                <a:latin typeface="Verdana"/>
                <a:cs typeface="Verdana"/>
              </a:rPr>
              <a:t>Мерсер</a:t>
            </a:r>
            <a:endParaRPr lang="en-US" sz="800" dirty="0">
              <a:solidFill>
                <a:srgbClr val="000000"/>
              </a:solidFill>
              <a:latin typeface="Verdana"/>
              <a:cs typeface="Verdana"/>
            </a:endParaRPr>
          </a:p>
        </p:txBody>
      </p:sp>
      <p:sp>
        <p:nvSpPr>
          <p:cNvPr id="38" name="Rectangle 5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3271" y="1289086"/>
            <a:ext cx="7311582" cy="524757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  <a:effectLst/>
        </p:spPr>
        <p:txBody>
          <a:bodyPr wrap="square" lIns="76961" tIns="76961" rIns="76961" bIns="76961" anchor="ctr">
            <a:spAutoFit/>
          </a:bodyPr>
          <a:lstStyle/>
          <a:p>
            <a:pPr marL="1696" lvl="1" indent="0" defTabSz="957040">
              <a:buClr>
                <a:schemeClr val="bg1"/>
              </a:buClr>
              <a:buSzPct val="125000"/>
            </a:pPr>
            <a:r>
              <a:rPr lang="ru-RU" sz="1200" b="1" dirty="0">
                <a:solidFill>
                  <a:schemeClr val="bg2"/>
                </a:solidFill>
                <a:latin typeface="Verdana"/>
                <a:cs typeface="Verdana"/>
              </a:rPr>
              <a:t>Города различаются </a:t>
            </a:r>
            <a:r>
              <a:rPr lang="ru-RU" sz="1200" b="1" dirty="0" smtClean="0">
                <a:solidFill>
                  <a:schemeClr val="bg2"/>
                </a:solidFill>
                <a:latin typeface="Verdana"/>
                <a:cs typeface="Verdana"/>
              </a:rPr>
              <a:t>по </a:t>
            </a:r>
            <a:r>
              <a:rPr lang="ru-RU" sz="1200" b="1" dirty="0">
                <a:solidFill>
                  <a:schemeClr val="bg2"/>
                </a:solidFill>
                <a:latin typeface="Verdana"/>
                <a:cs typeface="Verdana"/>
              </a:rPr>
              <a:t>величине, скорости развития </a:t>
            </a:r>
            <a:r>
              <a:rPr lang="ru-RU" sz="1200" b="1" dirty="0" smtClean="0">
                <a:solidFill>
                  <a:schemeClr val="bg2"/>
                </a:solidFill>
                <a:latin typeface="Verdana"/>
                <a:cs typeface="Verdana"/>
              </a:rPr>
              <a:t>и </a:t>
            </a:r>
            <a:r>
              <a:rPr lang="ru-RU" sz="1200" b="1" dirty="0">
                <a:solidFill>
                  <a:schemeClr val="bg2"/>
                </a:solidFill>
                <a:latin typeface="Verdana"/>
                <a:cs typeface="Verdana"/>
              </a:rPr>
              <a:t>степени серьезности стоящих перед ними </a:t>
            </a:r>
            <a:r>
              <a:rPr lang="ru-RU" sz="1200" b="1" dirty="0" smtClean="0">
                <a:solidFill>
                  <a:schemeClr val="bg2"/>
                </a:solidFill>
                <a:latin typeface="Verdana"/>
                <a:cs typeface="Verdana"/>
              </a:rPr>
              <a:t>проблем</a:t>
            </a:r>
            <a:endParaRPr lang="ru-RU" sz="1200" b="1" dirty="0">
              <a:solidFill>
                <a:schemeClr val="bg2"/>
              </a:solidFill>
              <a:latin typeface="Verdana"/>
              <a:cs typeface="Verdana"/>
            </a:endParaRPr>
          </a:p>
        </p:txBody>
      </p:sp>
      <p:grpSp>
        <p:nvGrpSpPr>
          <p:cNvPr id="74" name="Группа 73"/>
          <p:cNvGrpSpPr/>
          <p:nvPr/>
        </p:nvGrpSpPr>
        <p:grpSpPr>
          <a:xfrm>
            <a:off x="6499599" y="5733256"/>
            <a:ext cx="1600968" cy="464868"/>
            <a:chOff x="7833320" y="5507333"/>
            <a:chExt cx="1734382" cy="464868"/>
          </a:xfrm>
        </p:grpSpPr>
        <p:sp>
          <p:nvSpPr>
            <p:cNvPr id="36" name="Rectangle 48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8367400" y="5507333"/>
              <a:ext cx="738783" cy="1247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57040">
                <a:buClr>
                  <a:schemeClr val="tx2"/>
                </a:buClr>
              </a:pPr>
              <a:r>
                <a:rPr lang="ru-RU" sz="900" dirty="0" smtClean="0">
                  <a:solidFill>
                    <a:srgbClr val="808080"/>
                  </a:solidFill>
                </a:rPr>
                <a:t>Агломерация</a:t>
              </a:r>
              <a:r>
                <a:rPr lang="ru-RU" sz="900" baseline="30000" dirty="0" smtClean="0">
                  <a:solidFill>
                    <a:srgbClr val="808080"/>
                  </a:solidFill>
                </a:rPr>
                <a:t>1</a:t>
              </a:r>
              <a:endParaRPr lang="en-US" sz="900" dirty="0">
                <a:solidFill>
                  <a:srgbClr val="808080"/>
                </a:solidFill>
              </a:endParaRPr>
            </a:p>
          </p:txBody>
        </p:sp>
        <p:sp>
          <p:nvSpPr>
            <p:cNvPr id="37" name="Rectangle 49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8367400" y="5722760"/>
              <a:ext cx="1200302" cy="2494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57040">
                <a:buClr>
                  <a:schemeClr val="tx2"/>
                </a:buClr>
              </a:pPr>
              <a:r>
                <a:rPr lang="ru-RU" sz="900" dirty="0">
                  <a:solidFill>
                    <a:srgbClr val="808080"/>
                  </a:solidFill>
                </a:rPr>
                <a:t>Область, для которой </a:t>
              </a:r>
              <a:br>
                <a:rPr lang="ru-RU" sz="900" dirty="0">
                  <a:solidFill>
                    <a:srgbClr val="808080"/>
                  </a:solidFill>
                </a:rPr>
              </a:br>
              <a:r>
                <a:rPr lang="ru-RU" sz="900" dirty="0">
                  <a:solidFill>
                    <a:srgbClr val="808080"/>
                  </a:solidFill>
                </a:rPr>
                <a:t>разрабатывается план</a:t>
              </a:r>
              <a:endParaRPr lang="en-US" sz="900" dirty="0">
                <a:solidFill>
                  <a:srgbClr val="808080"/>
                </a:solidFill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7833320" y="5733256"/>
              <a:ext cx="432048" cy="14401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7833320" y="5517232"/>
              <a:ext cx="432048" cy="144016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5" name="Группа 74"/>
          <p:cNvGrpSpPr/>
          <p:nvPr/>
        </p:nvGrpSpPr>
        <p:grpSpPr>
          <a:xfrm>
            <a:off x="795076" y="1844825"/>
            <a:ext cx="7344356" cy="3971153"/>
            <a:chOff x="861332" y="2032272"/>
            <a:chExt cx="7956386" cy="3971153"/>
          </a:xfrm>
        </p:grpSpPr>
        <p:graphicFrame>
          <p:nvGraphicFramePr>
            <p:cNvPr id="5" name="Object 6"/>
            <p:cNvGraphicFramePr>
              <a:graphicFrameLocks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438680522"/>
                </p:ext>
              </p:extLst>
            </p:nvPr>
          </p:nvGraphicFramePr>
          <p:xfrm>
            <a:off x="4448944" y="2708920"/>
            <a:ext cx="2060575" cy="31121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5"/>
            </a:graphicData>
          </a:graphic>
        </p:graphicFrame>
        <p:graphicFrame>
          <p:nvGraphicFramePr>
            <p:cNvPr id="6" name="Object 7"/>
            <p:cNvGraphicFramePr>
              <a:graphicFrameLocks/>
            </p:cNvGraphicFramePr>
            <p:nvPr>
              <p:custDataLst>
                <p:tags r:id="rId5"/>
              </p:custDataLst>
              <p:extLst>
                <p:ext uri="{D42A27DB-BD31-4B8C-83A1-F6EECF244321}">
                  <p14:modId xmlns:p14="http://schemas.microsoft.com/office/powerpoint/2010/main" val="3919299878"/>
                </p:ext>
              </p:extLst>
            </p:nvPr>
          </p:nvGraphicFramePr>
          <p:xfrm>
            <a:off x="6753200" y="2710347"/>
            <a:ext cx="1793613" cy="31106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6"/>
            </a:graphicData>
          </a:graphic>
        </p:graphicFrame>
        <p:sp>
          <p:nvSpPr>
            <p:cNvPr id="9" name="Rectangle 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64842" y="2499322"/>
              <a:ext cx="64226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57040">
                <a:buClr>
                  <a:schemeClr val="tx2"/>
                </a:buClr>
              </a:pPr>
              <a:r>
                <a:rPr lang="ru-RU" sz="1000" b="1" dirty="0" smtClean="0">
                  <a:solidFill>
                    <a:srgbClr val="808080"/>
                  </a:solidFill>
                </a:rPr>
                <a:t>Город</a:t>
              </a:r>
              <a:endParaRPr lang="en-US" sz="1000" b="1" dirty="0">
                <a:solidFill>
                  <a:srgbClr val="808080"/>
                </a:solidFill>
              </a:endParaRPr>
            </a:p>
          </p:txBody>
        </p:sp>
        <p:sp>
          <p:nvSpPr>
            <p:cNvPr id="10" name="Rectangle 1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844178" y="2360024"/>
              <a:ext cx="189872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57040">
                <a:buClr>
                  <a:schemeClr val="tx2"/>
                </a:buClr>
              </a:pPr>
              <a:r>
                <a:rPr lang="ru-RU" sz="1000" b="1">
                  <a:solidFill>
                    <a:srgbClr val="808080"/>
                  </a:solidFill>
                </a:rPr>
                <a:t>Рост населения</a:t>
              </a:r>
              <a:r>
                <a:rPr lang="ru-RU" sz="1000" b="1" baseline="30000">
                  <a:solidFill>
                    <a:srgbClr val="808080"/>
                  </a:solidFill>
                </a:rPr>
                <a:t>1</a:t>
              </a:r>
              <a:endParaRPr lang="ru-RU" sz="1000" b="1">
                <a:solidFill>
                  <a:srgbClr val="808080"/>
                </a:solidFill>
              </a:endParaRPr>
            </a:p>
            <a:p>
              <a:pPr defTabSz="957040">
                <a:buClr>
                  <a:schemeClr val="tx2"/>
                </a:buClr>
              </a:pPr>
              <a:r>
                <a:rPr lang="ru-RU" sz="1000">
                  <a:solidFill>
                    <a:srgbClr val="808080"/>
                  </a:solidFill>
                </a:rPr>
                <a:t>Проценты в год, 2010-25</a:t>
              </a:r>
              <a:endParaRPr lang="en-US" sz="1000">
                <a:solidFill>
                  <a:srgbClr val="808080"/>
                </a:solidFill>
              </a:endParaRPr>
            </a:p>
          </p:txBody>
        </p:sp>
        <p:sp>
          <p:nvSpPr>
            <p:cNvPr id="11" name="Line 12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864842" y="2703280"/>
              <a:ext cx="791602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12" name="Rectangle 1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6856825" y="2360024"/>
              <a:ext cx="1875911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57040">
                <a:buClr>
                  <a:schemeClr val="tx2"/>
                </a:buClr>
              </a:pPr>
              <a:r>
                <a:rPr lang="ru-RU" sz="1000" b="1" dirty="0">
                  <a:solidFill>
                    <a:srgbClr val="808080"/>
                  </a:solidFill>
                </a:rPr>
                <a:t>Рост ВВП</a:t>
              </a:r>
              <a:r>
                <a:rPr lang="ru-RU" sz="1000" b="1" baseline="30000" dirty="0">
                  <a:solidFill>
                    <a:srgbClr val="808080"/>
                  </a:solidFill>
                </a:rPr>
                <a:t>1</a:t>
              </a:r>
              <a:endParaRPr lang="ru-RU" sz="1000" b="1" dirty="0">
                <a:solidFill>
                  <a:srgbClr val="808080"/>
                </a:solidFill>
              </a:endParaRPr>
            </a:p>
            <a:p>
              <a:pPr defTabSz="957040">
                <a:buClr>
                  <a:schemeClr val="tx2"/>
                </a:buClr>
              </a:pPr>
              <a:r>
                <a:rPr lang="ru-RU" sz="1000" dirty="0">
                  <a:solidFill>
                    <a:srgbClr val="808080"/>
                  </a:solidFill>
                </a:rPr>
                <a:t>Проценты в год, 2010-25</a:t>
              </a:r>
              <a:endParaRPr lang="en-US" sz="1000" dirty="0">
                <a:solidFill>
                  <a:srgbClr val="808080"/>
                </a:solidFill>
              </a:endParaRPr>
            </a:p>
          </p:txBody>
        </p:sp>
        <p:sp>
          <p:nvSpPr>
            <p:cNvPr id="14" name="Line 1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864842" y="3963442"/>
              <a:ext cx="7916026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15" name="Line 16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864842" y="4279292"/>
              <a:ext cx="7916026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16" name="Line 17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864842" y="4567606"/>
              <a:ext cx="7916026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17" name="Line 20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901693" y="3359277"/>
              <a:ext cx="7916025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18" name="Line 21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864842" y="3655690"/>
              <a:ext cx="7916026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19" name="Line 22"/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>
              <a:off x="864842" y="4883457"/>
              <a:ext cx="7916026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20" name="Line 23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>
              <a:off x="892919" y="5497340"/>
              <a:ext cx="7916026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21" name="Line 24"/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>
              <a:off x="864842" y="5795373"/>
              <a:ext cx="7916026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22" name="Line 27"/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auto">
            <a:xfrm>
              <a:off x="864842" y="5171772"/>
              <a:ext cx="7916026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33" name="Line 43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auto">
            <a:xfrm>
              <a:off x="864842" y="3043427"/>
              <a:ext cx="7916026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34" name="Rectangle 4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750404" y="2360024"/>
              <a:ext cx="106518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57040">
                <a:buClr>
                  <a:schemeClr val="tx2"/>
                </a:buClr>
              </a:pPr>
              <a:r>
                <a:rPr lang="ru-RU" sz="1000" b="1">
                  <a:solidFill>
                    <a:srgbClr val="808080"/>
                  </a:solidFill>
                </a:rPr>
                <a:t>Население</a:t>
              </a:r>
            </a:p>
            <a:p>
              <a:pPr defTabSz="957040">
                <a:buClr>
                  <a:schemeClr val="tx2"/>
                </a:buClr>
              </a:pPr>
              <a:r>
                <a:rPr lang="ru-RU" sz="1000">
                  <a:solidFill>
                    <a:srgbClr val="808080"/>
                  </a:solidFill>
                </a:rPr>
                <a:t>Млн.</a:t>
              </a:r>
              <a:endParaRPr lang="en-US" sz="1000">
                <a:solidFill>
                  <a:srgbClr val="808080"/>
                </a:solidFill>
              </a:endParaRPr>
            </a:p>
          </p:txBody>
        </p:sp>
        <p:graphicFrame>
          <p:nvGraphicFramePr>
            <p:cNvPr id="35" name="Object 45"/>
            <p:cNvGraphicFramePr>
              <a:graphicFrameLocks/>
            </p:cNvGraphicFramePr>
            <p:nvPr>
              <p:custDataLst>
                <p:tags r:id="rId21"/>
              </p:custDataLst>
              <p:extLst>
                <p:ext uri="{D42A27DB-BD31-4B8C-83A1-F6EECF244321}">
                  <p14:modId xmlns:p14="http://schemas.microsoft.com/office/powerpoint/2010/main" val="507052768"/>
                </p:ext>
              </p:extLst>
            </p:nvPr>
          </p:nvGraphicFramePr>
          <p:xfrm>
            <a:off x="2648744" y="2680344"/>
            <a:ext cx="1779587" cy="314069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7"/>
            </a:graphicData>
          </a:graphic>
        </p:graphicFrame>
        <p:grpSp>
          <p:nvGrpSpPr>
            <p:cNvPr id="40" name="Group 52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861332" y="4003934"/>
              <a:ext cx="733518" cy="238102"/>
              <a:chOff x="121" y="1650"/>
              <a:chExt cx="418" cy="147"/>
            </a:xfrm>
          </p:grpSpPr>
          <p:sp>
            <p:nvSpPr>
              <p:cNvPr id="68" name="Oval 53" descr="Picture11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121" y="1650"/>
                <a:ext cx="147" cy="147"/>
              </a:xfrm>
              <a:prstGeom prst="ellipse">
                <a:avLst/>
              </a:prstGeom>
              <a:blipFill dpi="0" rotWithShape="1">
                <a:blip r:embed="rId58"/>
                <a:srcRect/>
                <a:stretch>
                  <a:fillRect r="-10580"/>
                </a:stretch>
              </a:blipFill>
              <a:ln w="1905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17961" dir="2700000" algn="ctr" rotWithShape="0">
                        <a:schemeClr val="accent1">
                          <a:gamma/>
                          <a:shade val="60000"/>
                          <a:invGamma/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ru-RU"/>
              </a:p>
            </p:txBody>
          </p:sp>
          <p:sp>
            <p:nvSpPr>
              <p:cNvPr id="69" name="Rectangle 54"/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328" y="1675"/>
                <a:ext cx="211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957040">
                  <a:buClr>
                    <a:schemeClr val="tx2"/>
                  </a:buClr>
                </a:pPr>
                <a:r>
                  <a:rPr lang="ru-RU" sz="1000">
                    <a:solidFill>
                      <a:srgbClr val="808080"/>
                    </a:solidFill>
                  </a:rPr>
                  <a:t>Пекин</a:t>
                </a:r>
                <a:endParaRPr lang="en-US" sz="1000">
                  <a:solidFill>
                    <a:srgbClr val="808080"/>
                  </a:solidFill>
                </a:endParaRPr>
              </a:p>
            </p:txBody>
          </p:sp>
        </p:grpSp>
        <p:grpSp>
          <p:nvGrpSpPr>
            <p:cNvPr id="41" name="Group 61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861332" y="4608099"/>
              <a:ext cx="1370520" cy="238102"/>
              <a:chOff x="121" y="3214"/>
              <a:chExt cx="781" cy="147"/>
            </a:xfrm>
          </p:grpSpPr>
          <p:sp>
            <p:nvSpPr>
              <p:cNvPr id="66" name="Oval 62" descr="Picture15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121" y="3214"/>
                <a:ext cx="147" cy="147"/>
              </a:xfrm>
              <a:prstGeom prst="ellipse">
                <a:avLst/>
              </a:prstGeom>
              <a:blipFill dpi="0" rotWithShape="1">
                <a:blip r:embed="rId59"/>
                <a:srcRect/>
                <a:stretch>
                  <a:fillRect r="-22296"/>
                </a:stretch>
              </a:blipFill>
              <a:ln w="1905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17961" dir="2700000" algn="ctr" rotWithShape="0">
                        <a:schemeClr val="accent1">
                          <a:gamma/>
                          <a:shade val="60000"/>
                          <a:invGamma/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ru-RU"/>
              </a:p>
            </p:txBody>
          </p:sp>
          <p:sp>
            <p:nvSpPr>
              <p:cNvPr id="67" name="Rectangle 63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28" y="3239"/>
                <a:ext cx="574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957040">
                  <a:buClr>
                    <a:schemeClr val="tx2"/>
                  </a:buClr>
                </a:pPr>
                <a:r>
                  <a:rPr lang="ru-RU" sz="1000" dirty="0">
                    <a:solidFill>
                      <a:srgbClr val="808080"/>
                    </a:solidFill>
                  </a:rPr>
                  <a:t>Рио</a:t>
                </a:r>
                <a:r>
                  <a:rPr lang="en-US" sz="1000" dirty="0">
                    <a:solidFill>
                      <a:srgbClr val="808080"/>
                    </a:solidFill>
                  </a:rPr>
                  <a:t>-</a:t>
                </a:r>
                <a:r>
                  <a:rPr lang="ru-RU" sz="1000" dirty="0">
                    <a:solidFill>
                      <a:srgbClr val="808080"/>
                    </a:solidFill>
                  </a:rPr>
                  <a:t>де</a:t>
                </a:r>
                <a:r>
                  <a:rPr lang="en-US" sz="1000" dirty="0">
                    <a:solidFill>
                      <a:srgbClr val="808080"/>
                    </a:solidFill>
                  </a:rPr>
                  <a:t>-</a:t>
                </a:r>
                <a:r>
                  <a:rPr lang="ru-RU" sz="1000" dirty="0">
                    <a:solidFill>
                      <a:srgbClr val="808080"/>
                    </a:solidFill>
                  </a:rPr>
                  <a:t>Жанейро</a:t>
                </a:r>
                <a:endParaRPr lang="en-US" sz="1000" dirty="0">
                  <a:solidFill>
                    <a:srgbClr val="808080"/>
                  </a:solidFill>
                </a:endParaRPr>
              </a:p>
            </p:txBody>
          </p:sp>
        </p:grpSp>
        <p:sp>
          <p:nvSpPr>
            <p:cNvPr id="42" name="Oval 64" descr="Picture1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861332" y="3088779"/>
              <a:ext cx="257960" cy="238102"/>
            </a:xfrm>
            <a:prstGeom prst="ellipse">
              <a:avLst/>
            </a:prstGeom>
            <a:blipFill dpi="0" rotWithShape="1">
              <a:blip r:embed="rId60"/>
              <a:srcRect/>
              <a:stretch>
                <a:fillRect r="-2214"/>
              </a:stretch>
            </a:blipFill>
            <a:ln w="1905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17961" dir="2700000" algn="ctr" rotWithShape="0">
                      <a:schemeClr val="accent1">
                        <a:gamma/>
                        <a:shade val="60000"/>
                        <a:invGamma/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ru-RU"/>
            </a:p>
          </p:txBody>
        </p:sp>
        <p:sp>
          <p:nvSpPr>
            <p:cNvPr id="43" name="Rectangle 65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224581" y="3129272"/>
              <a:ext cx="352528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>
                <a:buClr>
                  <a:schemeClr val="tx2"/>
                </a:buClr>
              </a:pPr>
              <a:r>
                <a:rPr lang="ru-RU" sz="1000" dirty="0">
                  <a:solidFill>
                    <a:srgbClr val="808080"/>
                  </a:solidFill>
                </a:rPr>
                <a:t>Токио</a:t>
              </a:r>
              <a:endParaRPr lang="en-US" sz="1000" dirty="0">
                <a:solidFill>
                  <a:srgbClr val="808080"/>
                </a:solidFill>
              </a:endParaRPr>
            </a:p>
          </p:txBody>
        </p:sp>
        <p:grpSp>
          <p:nvGrpSpPr>
            <p:cNvPr id="44" name="Group 66"/>
            <p:cNvGrpSpPr>
              <a:grpSpLocks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861332" y="4305207"/>
              <a:ext cx="821260" cy="238102"/>
              <a:chOff x="121" y="2237"/>
              <a:chExt cx="468" cy="147"/>
            </a:xfrm>
          </p:grpSpPr>
          <p:sp>
            <p:nvSpPr>
              <p:cNvPr id="64" name="Oval 67" descr="Picture1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21" y="2237"/>
                <a:ext cx="147" cy="147"/>
              </a:xfrm>
              <a:prstGeom prst="ellipse">
                <a:avLst/>
              </a:prstGeom>
              <a:blipFill dpi="0" rotWithShape="1">
                <a:blip r:embed="rId61"/>
                <a:srcRect/>
                <a:stretch>
                  <a:fillRect b="-13035"/>
                </a:stretch>
              </a:blipFill>
              <a:ln w="1905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17961" dir="2700000" algn="ctr" rotWithShape="0">
                        <a:schemeClr val="accent1">
                          <a:gamma/>
                          <a:shade val="60000"/>
                          <a:invGamma/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ru-RU"/>
              </a:p>
            </p:txBody>
          </p:sp>
          <p:sp>
            <p:nvSpPr>
              <p:cNvPr id="65" name="Rectangle 68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328" y="2262"/>
                <a:ext cx="261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957040">
                  <a:buClr>
                    <a:schemeClr val="tx2"/>
                  </a:buClr>
                </a:pPr>
                <a:r>
                  <a:rPr lang="ru-RU" sz="1000" dirty="0">
                    <a:solidFill>
                      <a:srgbClr val="808080"/>
                    </a:solidFill>
                  </a:rPr>
                  <a:t>Лондон</a:t>
                </a:r>
                <a:endParaRPr lang="en-US" sz="1000" dirty="0">
                  <a:solidFill>
                    <a:srgbClr val="808080"/>
                  </a:solidFill>
                </a:endParaRPr>
              </a:p>
            </p:txBody>
          </p:sp>
        </p:grpSp>
        <p:grpSp>
          <p:nvGrpSpPr>
            <p:cNvPr id="45" name="Group 69"/>
            <p:cNvGrpSpPr>
              <a:grpSpLocks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861332" y="3702662"/>
              <a:ext cx="952871" cy="238102"/>
              <a:chOff x="121" y="2823"/>
              <a:chExt cx="543" cy="147"/>
            </a:xfrm>
          </p:grpSpPr>
          <p:sp>
            <p:nvSpPr>
              <p:cNvPr id="62" name="Oval 70" descr="Picture2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121" y="2823"/>
                <a:ext cx="147" cy="147"/>
              </a:xfrm>
              <a:prstGeom prst="ellipse">
                <a:avLst/>
              </a:prstGeom>
              <a:blipFill dpi="0" rotWithShape="1">
                <a:blip r:embed="rId62"/>
                <a:srcRect/>
                <a:stretch>
                  <a:fillRect b="-37849"/>
                </a:stretch>
              </a:blipFill>
              <a:ln w="1905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17961" dir="2700000" algn="ctr" rotWithShape="0">
                        <a:schemeClr val="accent1">
                          <a:gamma/>
                          <a:shade val="60000"/>
                          <a:invGamma/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ru-RU"/>
              </a:p>
            </p:txBody>
          </p:sp>
          <p:sp>
            <p:nvSpPr>
              <p:cNvPr id="63" name="Rectangle 71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28" y="2848"/>
                <a:ext cx="336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957040">
                  <a:buClr>
                    <a:schemeClr val="tx2"/>
                  </a:buClr>
                </a:pPr>
                <a:r>
                  <a:rPr lang="ru-RU" sz="1000" dirty="0">
                    <a:solidFill>
                      <a:srgbClr val="808080"/>
                    </a:solidFill>
                  </a:rPr>
                  <a:t>Нью-Йорк</a:t>
                </a:r>
                <a:endParaRPr lang="en-US" sz="1000" dirty="0">
                  <a:solidFill>
                    <a:srgbClr val="808080"/>
                  </a:solidFill>
                </a:endParaRPr>
              </a:p>
            </p:txBody>
          </p:sp>
        </p:grpSp>
        <p:grpSp>
          <p:nvGrpSpPr>
            <p:cNvPr id="46" name="Group 75"/>
            <p:cNvGrpSpPr>
              <a:grpSpLocks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861332" y="5523255"/>
              <a:ext cx="803711" cy="238102"/>
              <a:chOff x="121" y="1876"/>
              <a:chExt cx="458" cy="147"/>
            </a:xfrm>
          </p:grpSpPr>
          <p:sp>
            <p:nvSpPr>
              <p:cNvPr id="60" name="Oval 76" descr="Picture4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21" y="1876"/>
                <a:ext cx="147" cy="147"/>
              </a:xfrm>
              <a:prstGeom prst="ellipse">
                <a:avLst/>
              </a:prstGeom>
              <a:blipFill dpi="0" rotWithShape="1">
                <a:blip r:embed="rId63"/>
                <a:srcRect/>
                <a:stretch>
                  <a:fillRect/>
                </a:stretch>
              </a:blipFill>
              <a:ln w="1905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1" name="Rectangle 77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28" y="1902"/>
                <a:ext cx="251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957040">
                  <a:buClr>
                    <a:schemeClr val="tx2"/>
                  </a:buClr>
                </a:pPr>
                <a:r>
                  <a:rPr lang="ru-RU" sz="1000" dirty="0">
                    <a:solidFill>
                      <a:srgbClr val="808080"/>
                    </a:solidFill>
                  </a:rPr>
                  <a:t>Берлин</a:t>
                </a:r>
                <a:endParaRPr lang="en-US" sz="1000" dirty="0">
                  <a:solidFill>
                    <a:srgbClr val="808080"/>
                  </a:solidFill>
                </a:endParaRPr>
              </a:p>
            </p:txBody>
          </p:sp>
        </p:grpSp>
        <p:grpSp>
          <p:nvGrpSpPr>
            <p:cNvPr id="47" name="Group 81"/>
            <p:cNvGrpSpPr>
              <a:grpSpLocks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861332" y="3391671"/>
              <a:ext cx="828278" cy="238102"/>
              <a:chOff x="121" y="1259"/>
              <a:chExt cx="472" cy="147"/>
            </a:xfrm>
          </p:grpSpPr>
          <p:sp>
            <p:nvSpPr>
              <p:cNvPr id="58" name="Oval 82" descr="Picture4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21" y="1259"/>
                <a:ext cx="147" cy="147"/>
              </a:xfrm>
              <a:prstGeom prst="ellipse">
                <a:avLst/>
              </a:prstGeom>
              <a:blipFill dpi="0" rotWithShape="1">
                <a:blip r:embed="rId64"/>
                <a:srcRect/>
                <a:stretch>
                  <a:fillRect b="-41941"/>
                </a:stretch>
              </a:blipFill>
              <a:ln w="1905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17961" dir="2700000" algn="ctr" rotWithShape="0">
                        <a:schemeClr val="accent1">
                          <a:gamma/>
                          <a:shade val="60000"/>
                          <a:invGamma/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ru-RU"/>
              </a:p>
            </p:txBody>
          </p:sp>
          <p:sp>
            <p:nvSpPr>
              <p:cNvPr id="59" name="Rectangle 83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328" y="1284"/>
                <a:ext cx="265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957040">
                  <a:buClr>
                    <a:schemeClr val="tx2"/>
                  </a:buClr>
                </a:pPr>
                <a:r>
                  <a:rPr lang="ru-RU" sz="1000" dirty="0">
                    <a:solidFill>
                      <a:srgbClr val="808080"/>
                    </a:solidFill>
                  </a:rPr>
                  <a:t>Шанхай</a:t>
                </a:r>
                <a:endParaRPr lang="en-US" sz="1000" dirty="0">
                  <a:solidFill>
                    <a:srgbClr val="808080"/>
                  </a:solidFill>
                </a:endParaRPr>
              </a:p>
            </p:txBody>
          </p:sp>
        </p:grpSp>
        <p:grpSp>
          <p:nvGrpSpPr>
            <p:cNvPr id="48" name="Group 84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861332" y="5223602"/>
              <a:ext cx="917775" cy="238102"/>
              <a:chOff x="121" y="312"/>
              <a:chExt cx="523" cy="147"/>
            </a:xfrm>
          </p:grpSpPr>
          <p:sp>
            <p:nvSpPr>
              <p:cNvPr id="56" name="Oval 85" descr="Picture16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21" y="312"/>
                <a:ext cx="147" cy="147"/>
              </a:xfrm>
              <a:prstGeom prst="ellipse">
                <a:avLst/>
              </a:prstGeom>
              <a:blipFill dpi="0" rotWithShape="1">
                <a:blip r:embed="rId60"/>
                <a:srcRect/>
                <a:stretch>
                  <a:fillRect r="-2214"/>
                </a:stretch>
              </a:blipFill>
              <a:ln w="1905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17961" dir="2700000" algn="ctr" rotWithShape="0">
                        <a:schemeClr val="accent1">
                          <a:gamma/>
                          <a:shade val="60000"/>
                          <a:invGamma/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ru-RU"/>
              </a:p>
            </p:txBody>
          </p:sp>
          <p:sp>
            <p:nvSpPr>
              <p:cNvPr id="57" name="Rectangle 86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328" y="338"/>
                <a:ext cx="316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957040">
                  <a:buClr>
                    <a:schemeClr val="tx2"/>
                  </a:buClr>
                </a:pPr>
                <a:r>
                  <a:rPr lang="ru-RU" sz="1000" dirty="0">
                    <a:solidFill>
                      <a:srgbClr val="808080"/>
                    </a:solidFill>
                  </a:rPr>
                  <a:t>Сингапур</a:t>
                </a:r>
                <a:endParaRPr lang="en-US" sz="1000" dirty="0">
                  <a:solidFill>
                    <a:srgbClr val="808080"/>
                  </a:solidFill>
                </a:endParaRPr>
              </a:p>
            </p:txBody>
          </p:sp>
        </p:grpSp>
        <p:grpSp>
          <p:nvGrpSpPr>
            <p:cNvPr id="49" name="Group 87"/>
            <p:cNvGrpSpPr>
              <a:grpSpLocks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861332" y="4919090"/>
              <a:ext cx="756331" cy="238102"/>
              <a:chOff x="121" y="3019"/>
              <a:chExt cx="431" cy="147"/>
            </a:xfrm>
          </p:grpSpPr>
          <p:sp>
            <p:nvSpPr>
              <p:cNvPr id="54" name="Oval 88" descr="Picture9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21" y="3019"/>
                <a:ext cx="147" cy="147"/>
              </a:xfrm>
              <a:prstGeom prst="ellipse">
                <a:avLst/>
              </a:prstGeom>
              <a:blipFill dpi="0" rotWithShape="1">
                <a:blip r:embed="rId65"/>
                <a:srcRect/>
                <a:stretch>
                  <a:fillRect b="-27805"/>
                </a:stretch>
              </a:blipFill>
              <a:ln w="1905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17961" dir="2700000" algn="ctr" rotWithShape="0">
                        <a:schemeClr val="accent1">
                          <a:gamma/>
                          <a:shade val="60000"/>
                          <a:invGamma/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ru-RU"/>
              </a:p>
            </p:txBody>
          </p:sp>
          <p:sp>
            <p:nvSpPr>
              <p:cNvPr id="55" name="Rectangle 89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328" y="3044"/>
                <a:ext cx="224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957040">
                  <a:buClr>
                    <a:schemeClr val="tx2"/>
                  </a:buClr>
                </a:pPr>
                <a:r>
                  <a:rPr lang="ru-RU" sz="1000">
                    <a:solidFill>
                      <a:srgbClr val="808080"/>
                    </a:solidFill>
                  </a:rPr>
                  <a:t>Париж</a:t>
                </a:r>
                <a:endParaRPr lang="en-US" sz="1000">
                  <a:solidFill>
                    <a:srgbClr val="808080"/>
                  </a:solidFill>
                </a:endParaRPr>
              </a:p>
            </p:txBody>
          </p:sp>
        </p:grpSp>
        <p:sp>
          <p:nvSpPr>
            <p:cNvPr id="51" name="Rectangle 9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2043209" y="5695648"/>
              <a:ext cx="123992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</a:rPr>
                <a:t>  </a:t>
              </a:r>
              <a:r>
                <a:rPr lang="ru-RU" sz="1000" dirty="0">
                  <a:solidFill>
                    <a:srgbClr val="808080"/>
                  </a:solidFill>
                </a:rPr>
                <a:t/>
              </a:r>
              <a:br>
                <a:rPr lang="ru-RU" sz="1000" dirty="0">
                  <a:solidFill>
                    <a:srgbClr val="808080"/>
                  </a:solidFill>
                </a:rPr>
              </a:br>
              <a:r>
                <a:rPr lang="ru-RU" sz="1000" dirty="0" smtClean="0">
                  <a:solidFill>
                    <a:srgbClr val="808080"/>
                  </a:solidFill>
                </a:rPr>
                <a:t>*Московский регион</a:t>
              </a:r>
              <a:endParaRPr lang="en-US" sz="1000" dirty="0">
                <a:solidFill>
                  <a:srgbClr val="808080"/>
                </a:solidFill>
              </a:endParaRPr>
            </a:p>
          </p:txBody>
        </p:sp>
        <p:sp>
          <p:nvSpPr>
            <p:cNvPr id="52" name="Rectangle 9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1224581" y="2724336"/>
              <a:ext cx="123992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7040">
                <a:buClr>
                  <a:schemeClr val="tx2"/>
                </a:buClr>
              </a:pPr>
              <a:r>
                <a:rPr lang="ru-RU" sz="1000" dirty="0" smtClean="0">
                  <a:solidFill>
                    <a:srgbClr val="808080"/>
                  </a:solidFill>
                </a:rPr>
                <a:t>Москва </a:t>
              </a:r>
              <a:r>
                <a:rPr lang="ru-RU" sz="1000" dirty="0">
                  <a:solidFill>
                    <a:srgbClr val="808080"/>
                  </a:solidFill>
                </a:rPr>
                <a:t/>
              </a:r>
              <a:br>
                <a:rPr lang="ru-RU" sz="1000" dirty="0">
                  <a:solidFill>
                    <a:srgbClr val="808080"/>
                  </a:solidFill>
                </a:rPr>
              </a:br>
              <a:r>
                <a:rPr lang="ru-RU" sz="1000" dirty="0" smtClean="0">
                  <a:solidFill>
                    <a:srgbClr val="808080"/>
                  </a:solidFill>
                </a:rPr>
                <a:t>*Московский регион</a:t>
              </a:r>
              <a:endParaRPr lang="en-US" sz="1000" dirty="0">
                <a:solidFill>
                  <a:srgbClr val="808080"/>
                </a:solidFill>
              </a:endParaRPr>
            </a:p>
          </p:txBody>
        </p:sp>
        <p:sp>
          <p:nvSpPr>
            <p:cNvPr id="53" name="Oval 92" descr="Picture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861332" y="2724336"/>
              <a:ext cx="257960" cy="238102"/>
            </a:xfrm>
            <a:prstGeom prst="ellipse">
              <a:avLst/>
            </a:prstGeom>
            <a:blipFill dpi="0" rotWithShape="1">
              <a:blip r:embed="rId66"/>
              <a:srcRect/>
              <a:stretch>
                <a:fillRect/>
              </a:stretch>
            </a:blipFill>
            <a:ln w="1905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3499667" y="2652687"/>
              <a:ext cx="276465" cy="261610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/>
            <a:p>
              <a:pPr algn="l"/>
              <a:r>
                <a:rPr lang="en-US" sz="1100" dirty="0" smtClean="0"/>
                <a:t>*</a:t>
              </a:r>
              <a:endParaRPr lang="ru-RU" sz="1100" dirty="0" smtClean="0"/>
            </a:p>
          </p:txBody>
        </p:sp>
        <p:sp>
          <p:nvSpPr>
            <p:cNvPr id="73" name="Line 12"/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auto">
            <a:xfrm>
              <a:off x="864842" y="2032272"/>
              <a:ext cx="791602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</p:grpSp>
      <p:pic>
        <p:nvPicPr>
          <p:cNvPr id="76" name="Изображение 7"/>
          <p:cNvPicPr>
            <a:picLocks noChangeAspect="1"/>
          </p:cNvPicPr>
          <p:nvPr/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Изображение 8" descr="gerb.png"/>
          <p:cNvPicPr>
            <a:picLocks noChangeAspect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084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0" y="857830"/>
            <a:ext cx="9144000" cy="600017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5780" name="Picture 4" descr="_Условные Дельта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286" y="4818063"/>
            <a:ext cx="1335768" cy="188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793" name="AutoShape 17"/>
          <p:cNvSpPr>
            <a:spLocks noChangeArrowheads="1"/>
          </p:cNvSpPr>
          <p:nvPr/>
        </p:nvSpPr>
        <p:spPr bwMode="auto">
          <a:xfrm>
            <a:off x="7657421" y="3480027"/>
            <a:ext cx="977446" cy="257401"/>
          </a:xfrm>
          <a:prstGeom prst="wedgeRectCallout">
            <a:avLst>
              <a:gd name="adj1" fmla="val 52319"/>
              <a:gd name="adj2" fmla="val 153963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 dirty="0" smtClean="0"/>
              <a:t>3400 </a:t>
            </a:r>
            <a:r>
              <a:rPr lang="en-US" sz="1100" b="1" dirty="0"/>
              <a:t>- </a:t>
            </a:r>
            <a:r>
              <a:rPr lang="en-US" sz="1100" b="1" dirty="0" smtClean="0"/>
              <a:t>1200</a:t>
            </a:r>
            <a:endParaRPr lang="ru-RU" sz="1100" b="1" dirty="0"/>
          </a:p>
        </p:txBody>
      </p:sp>
      <p:sp>
        <p:nvSpPr>
          <p:cNvPr id="75799" name="Rectangle 23"/>
          <p:cNvSpPr>
            <a:spLocks/>
          </p:cNvSpPr>
          <p:nvPr/>
        </p:nvSpPr>
        <p:spPr bwMode="auto">
          <a:xfrm>
            <a:off x="7452179" y="4011839"/>
            <a:ext cx="1492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96" tIns="45597" rIns="91196" bIns="45597" anchor="ctr"/>
          <a:lstStyle/>
          <a:p>
            <a:pPr algn="r" eaLnBrk="0" hangingPunct="0"/>
            <a:r>
              <a:rPr lang="ru-RU" sz="900" b="1">
                <a:ea typeface="Arial" pitchFamily="34" charset="0"/>
                <a:cs typeface="Verdana" pitchFamily="34" charset="0"/>
              </a:rPr>
              <a:t>Размеры движения на проектируемых магистралях в утренний час пик в одном направлении.</a:t>
            </a:r>
            <a:br>
              <a:rPr lang="ru-RU" sz="900" b="1">
                <a:ea typeface="Arial" pitchFamily="34" charset="0"/>
                <a:cs typeface="Verdana" pitchFamily="34" charset="0"/>
              </a:rPr>
            </a:br>
            <a:r>
              <a:rPr lang="ru-RU" sz="900" b="1">
                <a:ea typeface="Arial" pitchFamily="34" charset="0"/>
                <a:cs typeface="Verdana" pitchFamily="34" charset="0"/>
              </a:rPr>
              <a:t>(прив. ед./час)</a:t>
            </a:r>
          </a:p>
        </p:txBody>
      </p:sp>
      <p:pic>
        <p:nvPicPr>
          <p:cNvPr id="75800" name="Picture 24" descr="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7"/>
          <a:stretch/>
        </p:blipFill>
        <p:spPr bwMode="auto">
          <a:xfrm>
            <a:off x="868590" y="968188"/>
            <a:ext cx="6429375" cy="5889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801" name="AutoShape 25"/>
          <p:cNvSpPr>
            <a:spLocks noChangeArrowheads="1"/>
          </p:cNvSpPr>
          <p:nvPr/>
        </p:nvSpPr>
        <p:spPr bwMode="auto">
          <a:xfrm>
            <a:off x="6217331" y="4334822"/>
            <a:ext cx="977446" cy="257402"/>
          </a:xfrm>
          <a:prstGeom prst="wedgeRectCallout">
            <a:avLst>
              <a:gd name="adj1" fmla="val -118560"/>
              <a:gd name="adj2" fmla="val 176870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/>
              <a:t>3400 - 1200</a:t>
            </a:r>
            <a:endParaRPr lang="ru-RU" sz="1100" b="1"/>
          </a:p>
        </p:txBody>
      </p:sp>
      <p:sp>
        <p:nvSpPr>
          <p:cNvPr id="75802" name="AutoShape 26"/>
          <p:cNvSpPr>
            <a:spLocks noChangeArrowheads="1"/>
          </p:cNvSpPr>
          <p:nvPr/>
        </p:nvSpPr>
        <p:spPr bwMode="auto">
          <a:xfrm>
            <a:off x="4829403" y="6238688"/>
            <a:ext cx="977446" cy="257401"/>
          </a:xfrm>
          <a:prstGeom prst="wedgeRectCallout">
            <a:avLst>
              <a:gd name="adj1" fmla="val -97333"/>
              <a:gd name="adj2" fmla="val -247796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/>
              <a:t>34</a:t>
            </a:r>
            <a:r>
              <a:rPr lang="ru-RU" sz="1100" b="1"/>
              <a:t>00 – </a:t>
            </a:r>
            <a:r>
              <a:rPr lang="en-US" sz="1100" b="1"/>
              <a:t>45</a:t>
            </a:r>
            <a:r>
              <a:rPr lang="ru-RU" sz="1100" b="1"/>
              <a:t>0</a:t>
            </a:r>
          </a:p>
        </p:txBody>
      </p:sp>
      <p:sp>
        <p:nvSpPr>
          <p:cNvPr id="75803" name="AutoShape 27"/>
          <p:cNvSpPr>
            <a:spLocks noChangeArrowheads="1"/>
          </p:cNvSpPr>
          <p:nvPr/>
        </p:nvSpPr>
        <p:spPr bwMode="auto">
          <a:xfrm>
            <a:off x="971778" y="2535277"/>
            <a:ext cx="977446" cy="257401"/>
          </a:xfrm>
          <a:prstGeom prst="wedgeRectCallout">
            <a:avLst>
              <a:gd name="adj1" fmla="val 69606"/>
              <a:gd name="adj2" fmla="val 310352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/>
              <a:t>1300</a:t>
            </a:r>
            <a:endParaRPr lang="ru-RU" sz="1100" b="1"/>
          </a:p>
        </p:txBody>
      </p:sp>
      <p:sp>
        <p:nvSpPr>
          <p:cNvPr id="75804" name="AutoShape 28"/>
          <p:cNvSpPr>
            <a:spLocks noChangeArrowheads="1"/>
          </p:cNvSpPr>
          <p:nvPr/>
        </p:nvSpPr>
        <p:spPr bwMode="auto">
          <a:xfrm>
            <a:off x="3492501" y="2020474"/>
            <a:ext cx="977446" cy="257401"/>
          </a:xfrm>
          <a:prstGeom prst="wedgeRectCallout">
            <a:avLst>
              <a:gd name="adj1" fmla="val 57542"/>
              <a:gd name="adj2" fmla="val 240750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/>
              <a:t>5200 - 2700</a:t>
            </a:r>
            <a:endParaRPr lang="ru-RU" sz="1100" b="1"/>
          </a:p>
        </p:txBody>
      </p:sp>
      <p:pic>
        <p:nvPicPr>
          <p:cNvPr id="12" name="Изображение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Изображение 8" descr="ger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0" y="387550"/>
            <a:ext cx="9144000" cy="6651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1400" dirty="0"/>
              <a:t>Картограмма </a:t>
            </a:r>
            <a:r>
              <a:rPr lang="ru-RU" sz="1400" dirty="0" smtClean="0"/>
              <a:t>изменения </a:t>
            </a:r>
            <a:r>
              <a:rPr lang="ru-RU" sz="1400" dirty="0"/>
              <a:t>транспортных потоков на 2020-2025г. </a:t>
            </a:r>
            <a:endParaRPr lang="ru-RU" sz="1400" dirty="0" smtClean="0"/>
          </a:p>
          <a:p>
            <a:pPr>
              <a:lnSpc>
                <a:spcPct val="90000"/>
              </a:lnSpc>
            </a:pPr>
            <a:r>
              <a:rPr lang="ru-RU" sz="1400" b="0" dirty="0" smtClean="0"/>
              <a:t>(вариант со строительством вылетных магистралей над железнодорожными путями с учетом промежуточных подключений к сети автодорог региона)</a:t>
            </a:r>
          </a:p>
        </p:txBody>
      </p:sp>
      <p:sp>
        <p:nvSpPr>
          <p:cNvPr id="16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174038" y="1588"/>
            <a:ext cx="762000" cy="366712"/>
          </a:xfrm>
        </p:spPr>
        <p:txBody>
          <a:bodyPr vert="horz" anchor="b"/>
          <a:lstStyle/>
          <a:p>
            <a:pPr algn="r"/>
            <a:fld id="{A1A44D51-274A-48FA-ABC1-4371BF704371}" type="slidenum">
              <a:rPr lang="ru-RU" sz="1800">
                <a:solidFill>
                  <a:srgbClr val="FFFFFF"/>
                </a:solidFill>
              </a:rPr>
              <a:pPr algn="r"/>
              <a:t>10</a:t>
            </a:fld>
            <a:endParaRPr lang="ru-RU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60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0" y="497246"/>
            <a:ext cx="9144000" cy="699506"/>
          </a:xfrm>
        </p:spPr>
        <p:txBody>
          <a:bodyPr/>
          <a:lstStyle/>
          <a:p>
            <a:r>
              <a:rPr lang="ru-RU" dirty="0"/>
              <a:t>При высокой плотности населения Москва уступает мировым </a:t>
            </a:r>
            <a:r>
              <a:rPr lang="ru-RU" dirty="0" smtClean="0"/>
              <a:t>мегаполисам по обеспеченности жильем, офисами и коммерческими  площадями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4D8E078F-C780-1448-B644-99E10216B886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grpSp>
        <p:nvGrpSpPr>
          <p:cNvPr id="24" name="Группа 23"/>
          <p:cNvGrpSpPr/>
          <p:nvPr/>
        </p:nvGrpSpPr>
        <p:grpSpPr>
          <a:xfrm>
            <a:off x="517396" y="1694607"/>
            <a:ext cx="5056579" cy="4068737"/>
            <a:chOff x="411032" y="1474813"/>
            <a:chExt cx="5477961" cy="4068737"/>
          </a:xfrm>
        </p:grpSpPr>
        <p:grpSp>
          <p:nvGrpSpPr>
            <p:cNvPr id="25" name="Group 9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3957241" y="1474813"/>
              <a:ext cx="1931752" cy="633413"/>
              <a:chOff x="915" y="586"/>
              <a:chExt cx="3371" cy="399"/>
            </a:xfrm>
          </p:grpSpPr>
          <p:cxnSp>
            <p:nvCxnSpPr>
              <p:cNvPr id="42" name="AutoShape 96"/>
              <p:cNvCxnSpPr>
                <a:cxnSpLocks noChangeShapeType="1"/>
                <a:stCxn id="43" idx="4"/>
                <a:endCxn id="43" idx="6"/>
              </p:cNvCxnSpPr>
              <p:nvPr/>
            </p:nvCxnSpPr>
            <p:spPr bwMode="auto">
              <a:xfrm>
                <a:off x="915" y="985"/>
                <a:ext cx="3371" cy="0"/>
              </a:xfrm>
              <a:prstGeom prst="straightConnector1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  <p:sp>
            <p:nvSpPr>
              <p:cNvPr id="43" name="AutoShape 97"/>
              <p:cNvSpPr>
                <a:spLocks noChangeArrowheads="1"/>
              </p:cNvSpPr>
              <p:nvPr/>
            </p:nvSpPr>
            <p:spPr bwMode="auto">
              <a:xfrm>
                <a:off x="915" y="586"/>
                <a:ext cx="3371" cy="399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18288" anchor="b">
                <a:spAutoFit/>
              </a:bodyPr>
              <a:lstStyle/>
              <a:p>
                <a:r>
                  <a:rPr lang="ru-RU" sz="1000" b="1" dirty="0">
                    <a:latin typeface="Verdana"/>
                    <a:cs typeface="Verdana"/>
                  </a:rPr>
                  <a:t>Обеспеченность жильем</a:t>
                </a:r>
              </a:p>
              <a:p>
                <a:r>
                  <a:rPr lang="ru-RU" sz="1000" dirty="0">
                    <a:solidFill>
                      <a:srgbClr val="808080"/>
                    </a:solidFill>
                    <a:latin typeface="Verdana"/>
                    <a:cs typeface="Verdana"/>
                  </a:rPr>
                  <a:t>м</a:t>
                </a:r>
                <a:r>
                  <a:rPr lang="ru-RU" sz="1000" baseline="30000" dirty="0">
                    <a:solidFill>
                      <a:srgbClr val="808080"/>
                    </a:solidFill>
                    <a:latin typeface="Verdana"/>
                    <a:cs typeface="Verdana"/>
                  </a:rPr>
                  <a:t>2</a:t>
                </a:r>
                <a:r>
                  <a:rPr lang="ru-RU" sz="1000" dirty="0">
                    <a:solidFill>
                      <a:srgbClr val="808080"/>
                    </a:solidFill>
                    <a:latin typeface="Verdana"/>
                    <a:cs typeface="Verdana"/>
                  </a:rPr>
                  <a:t>/чел</a:t>
                </a:r>
                <a:r>
                  <a:rPr lang="ru-RU" sz="1000" dirty="0" smtClean="0">
                    <a:solidFill>
                      <a:srgbClr val="808080"/>
                    </a:solidFill>
                    <a:latin typeface="Verdana"/>
                    <a:cs typeface="Verdana"/>
                  </a:rPr>
                  <a:t>.</a:t>
                </a:r>
                <a:endParaRPr lang="en-US" sz="1000" dirty="0" smtClean="0">
                  <a:solidFill>
                    <a:srgbClr val="808080"/>
                  </a:solidFill>
                  <a:latin typeface="Verdana"/>
                  <a:cs typeface="Verdana"/>
                </a:endParaRPr>
              </a:p>
              <a:p>
                <a:endParaRPr lang="ru-RU" sz="1000" dirty="0">
                  <a:solidFill>
                    <a:srgbClr val="808080"/>
                  </a:solidFill>
                  <a:latin typeface="Verdana"/>
                  <a:cs typeface="Verdana"/>
                </a:endParaRPr>
              </a:p>
            </p:txBody>
          </p:sp>
        </p:grpSp>
        <p:grpSp>
          <p:nvGrpSpPr>
            <p:cNvPr id="26" name="Group 101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2031074" y="1633538"/>
              <a:ext cx="1769797" cy="479425"/>
              <a:chOff x="915" y="728"/>
              <a:chExt cx="2686" cy="302"/>
            </a:xfrm>
          </p:grpSpPr>
          <p:cxnSp>
            <p:nvCxnSpPr>
              <p:cNvPr id="40" name="AutoShape 102"/>
              <p:cNvCxnSpPr>
                <a:cxnSpLocks noChangeShapeType="1"/>
                <a:stCxn id="41" idx="4"/>
                <a:endCxn id="41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  <p:sp>
            <p:nvSpPr>
              <p:cNvPr id="41" name="AutoShape 103"/>
              <p:cNvSpPr>
                <a:spLocks noChangeArrowheads="1"/>
              </p:cNvSpPr>
              <p:nvPr/>
            </p:nvSpPr>
            <p:spPr bwMode="auto">
              <a:xfrm>
                <a:off x="915" y="728"/>
                <a:ext cx="2686" cy="302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ru-RU" sz="1000" b="1" dirty="0">
                    <a:latin typeface="Verdana"/>
                    <a:cs typeface="Verdana"/>
                  </a:rPr>
                  <a:t>Плотность населения</a:t>
                </a:r>
                <a:endParaRPr lang="ru-RU" sz="1000" b="1" dirty="0">
                  <a:solidFill>
                    <a:srgbClr val="808080"/>
                  </a:solidFill>
                  <a:latin typeface="Verdana"/>
                  <a:cs typeface="Verdana"/>
                </a:endParaRPr>
              </a:p>
              <a:p>
                <a:r>
                  <a:rPr lang="ru-RU" sz="1000" dirty="0">
                    <a:solidFill>
                      <a:srgbClr val="808080"/>
                    </a:solidFill>
                    <a:latin typeface="Verdana"/>
                    <a:cs typeface="Verdana"/>
                  </a:rPr>
                  <a:t>(данные </a:t>
                </a:r>
                <a:r>
                  <a:rPr lang="ru-RU" sz="1000" dirty="0" err="1">
                    <a:solidFill>
                      <a:srgbClr val="808080"/>
                    </a:solidFill>
                    <a:latin typeface="Verdana"/>
                    <a:cs typeface="Verdana"/>
                  </a:rPr>
                  <a:t>НИиПИ</a:t>
                </a:r>
                <a:r>
                  <a:rPr lang="ru-RU" sz="1000" dirty="0">
                    <a:solidFill>
                      <a:srgbClr val="808080"/>
                    </a:solidFill>
                    <a:latin typeface="Verdana"/>
                    <a:cs typeface="Verdana"/>
                  </a:rPr>
                  <a:t> Генплана), чел./га</a:t>
                </a:r>
              </a:p>
            </p:txBody>
          </p:sp>
        </p:grpSp>
        <p:pic>
          <p:nvPicPr>
            <p:cNvPr id="27" name="Picture 107" descr="russian_federation"/>
            <p:cNvPicPr>
              <a:picLocks noChangeArrowheads="1"/>
            </p:cNvPicPr>
            <p:nvPr>
              <p:custDataLst>
                <p:tags r:id="rId3"/>
              </p:custDataLst>
            </p:nvPr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411032" y="3013075"/>
              <a:ext cx="368035" cy="331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108" descr="fr"/>
            <p:cNvPicPr>
              <a:picLocks noChangeArrowheads="1"/>
            </p:cNvPicPr>
            <p:nvPr>
              <p:custDataLst>
                <p:tags r:id="rId4"/>
              </p:custDataLst>
            </p:nvPr>
          </p:nvPicPr>
          <p:blipFill>
            <a:blip r:embed="rId17"/>
            <a:srcRect/>
            <a:stretch>
              <a:fillRect/>
            </a:stretch>
          </p:blipFill>
          <p:spPr bwMode="auto">
            <a:xfrm>
              <a:off x="411032" y="3665539"/>
              <a:ext cx="368035" cy="331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109" descr="de"/>
            <p:cNvPicPr>
              <a:picLocks noChangeArrowheads="1"/>
            </p:cNvPicPr>
            <p:nvPr>
              <p:custDataLst>
                <p:tags r:id="rId5"/>
              </p:custDataLst>
            </p:nvPr>
          </p:nvPicPr>
          <p:blipFill>
            <a:blip r:embed="rId18"/>
            <a:srcRect/>
            <a:stretch>
              <a:fillRect/>
            </a:stretch>
          </p:blipFill>
          <p:spPr bwMode="auto">
            <a:xfrm>
              <a:off x="411032" y="4991100"/>
              <a:ext cx="368035" cy="331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110" descr="uk"/>
            <p:cNvPicPr>
              <a:picLocks noChangeArrowheads="1"/>
            </p:cNvPicPr>
            <p:nvPr>
              <p:custDataLst>
                <p:tags r:id="rId6"/>
              </p:custDataLst>
            </p:nvPr>
          </p:nvPicPr>
          <p:blipFill>
            <a:blip r:embed="rId19"/>
            <a:srcRect/>
            <a:stretch>
              <a:fillRect/>
            </a:stretch>
          </p:blipFill>
          <p:spPr bwMode="auto">
            <a:xfrm>
              <a:off x="411032" y="4318000"/>
              <a:ext cx="368035" cy="331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" name="Picture 111" descr="jp"/>
            <p:cNvPicPr>
              <a:picLocks noChangeArrowheads="1"/>
            </p:cNvPicPr>
            <p:nvPr>
              <p:custDataLst>
                <p:tags r:id="rId7"/>
              </p:custDataLst>
            </p:nvPr>
          </p:nvPicPr>
          <p:blipFill>
            <a:blip r:embed="rId20"/>
            <a:srcRect/>
            <a:stretch>
              <a:fillRect/>
            </a:stretch>
          </p:blipFill>
          <p:spPr bwMode="auto">
            <a:xfrm>
              <a:off x="411032" y="2360614"/>
              <a:ext cx="368035" cy="331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32" name="Object 67"/>
            <p:cNvGraphicFramePr>
              <a:graphicFrameLocks/>
            </p:cNvGraphicFramePr>
            <p:nvPr>
              <p:custDataLst>
                <p:tags r:id="rId8"/>
              </p:custDataLst>
              <p:extLst>
                <p:ext uri="{D42A27DB-BD31-4B8C-83A1-F6EECF244321}">
                  <p14:modId xmlns:p14="http://schemas.microsoft.com/office/powerpoint/2010/main" val="970421135"/>
                </p:ext>
              </p:extLst>
            </p:nvPr>
          </p:nvGraphicFramePr>
          <p:xfrm>
            <a:off x="1924050" y="2166938"/>
            <a:ext cx="1397000" cy="33766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1"/>
            </a:graphicData>
          </a:graphic>
        </p:graphicFrame>
        <p:sp>
          <p:nvSpPr>
            <p:cNvPr id="33" name="Rectangle 11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871936" y="3694113"/>
              <a:ext cx="620844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5350">
                <a:buClr>
                  <a:schemeClr val="tx2"/>
                </a:buClr>
              </a:pPr>
              <a:fld id="{31C63E36-EDC1-4517-8CB8-5FCDD0334844}" type="datetime'Б''о''''ль''''ш''''о''''''''''''й'' ''&#10;Па''''р''''''и''ж'">
                <a:rPr lang="en-US" sz="1000"/>
                <a:pPr defTabSz="895350">
                  <a:buClr>
                    <a:schemeClr val="tx2"/>
                  </a:buClr>
                </a:pPr>
                <a:t>Большой 
Париж</a:t>
              </a:fld>
              <a:endParaRPr lang="en-US" sz="1000"/>
            </a:p>
          </p:txBody>
        </p:sp>
        <p:sp>
          <p:nvSpPr>
            <p:cNvPr id="34" name="Rectangle 11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71935" y="3117850"/>
              <a:ext cx="469503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5350">
                <a:buClr>
                  <a:schemeClr val="tx2"/>
                </a:buClr>
              </a:pPr>
              <a:fld id="{5F2096D4-BC44-4253-A4DC-CADDF20CEE85}" type="datetime'''''''''''''''''''''Мо''''''с''''''к''''''''ва'">
                <a:rPr lang="en-US" sz="1000"/>
                <a:pPr defTabSz="895350">
                  <a:buClr>
                    <a:schemeClr val="tx2"/>
                  </a:buClr>
                </a:pPr>
                <a:t>Москва</a:t>
              </a:fld>
              <a:r>
                <a:rPr lang="ru-RU" sz="1000"/>
                <a:t>*</a:t>
              </a:r>
              <a:endParaRPr lang="en-US" sz="1000"/>
            </a:p>
          </p:txBody>
        </p:sp>
        <p:sp>
          <p:nvSpPr>
            <p:cNvPr id="35" name="Rectangle 12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871935" y="2384425"/>
              <a:ext cx="859896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5350">
                <a:buClr>
                  <a:schemeClr val="tx2"/>
                </a:buClr>
              </a:pPr>
              <a:r>
                <a:rPr lang="en-US" sz="1000"/>
                <a:t>Префектура  </a:t>
              </a:r>
            </a:p>
            <a:p>
              <a:pPr defTabSz="895350">
                <a:buClr>
                  <a:schemeClr val="tx2"/>
                </a:buClr>
              </a:pPr>
              <a:r>
                <a:rPr lang="en-US" sz="1000"/>
                <a:t>Токио</a:t>
              </a:r>
            </a:p>
          </p:txBody>
        </p:sp>
        <p:sp>
          <p:nvSpPr>
            <p:cNvPr id="36" name="Rectangle 12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71935" y="5080000"/>
              <a:ext cx="476382" cy="152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5350">
                <a:buClr>
                  <a:schemeClr val="tx2"/>
                </a:buClr>
              </a:pPr>
              <a:fld id="{A3656095-5466-405E-B534-6114461C79F6}" type="datetime'''''''''Б''''''''е''''р''л''''''''''''''и''''''н'''''''">
                <a:rPr lang="en-US" sz="1000"/>
                <a:pPr defTabSz="895350">
                  <a:buClr>
                    <a:schemeClr val="tx2"/>
                  </a:buClr>
                </a:pPr>
                <a:t>Берлин</a:t>
              </a:fld>
              <a:endParaRPr lang="en-US" sz="1000"/>
            </a:p>
          </p:txBody>
        </p:sp>
        <p:sp>
          <p:nvSpPr>
            <p:cNvPr id="37" name="Rectangle 12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871935" y="4346575"/>
              <a:ext cx="1037034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895350">
                <a:buClr>
                  <a:schemeClr val="tx2"/>
                </a:buClr>
              </a:pPr>
              <a:fld id="{642FAD10-BB09-4782-85BF-5146012DE2BA}" type="datetime'Б''ол''ь''шой  ''   ''''''''  ''  ''  '' &#10;''Л''''онд''о''н'">
                <a:rPr lang="en-US" sz="1000"/>
                <a:pPr defTabSz="895350">
                  <a:buClr>
                    <a:schemeClr val="tx2"/>
                  </a:buClr>
                </a:pPr>
                <a:t>Большой            
Лондон</a:t>
              </a:fld>
              <a:endParaRPr lang="en-US" sz="1000" dirty="0"/>
            </a:p>
          </p:txBody>
        </p:sp>
        <p:graphicFrame>
          <p:nvGraphicFramePr>
            <p:cNvPr id="38" name="Object 68"/>
            <p:cNvGraphicFramePr>
              <a:graphicFrameLocks/>
            </p:cNvGraphicFramePr>
            <p:nvPr>
              <p:custDataLst>
                <p:tags r:id="rId14"/>
              </p:custDataLst>
              <p:extLst>
                <p:ext uri="{D42A27DB-BD31-4B8C-83A1-F6EECF244321}">
                  <p14:modId xmlns:p14="http://schemas.microsoft.com/office/powerpoint/2010/main" val="3106524877"/>
                </p:ext>
              </p:extLst>
            </p:nvPr>
          </p:nvGraphicFramePr>
          <p:xfrm>
            <a:off x="3849688" y="2166938"/>
            <a:ext cx="1398587" cy="33766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2"/>
            </a:graphicData>
          </a:graphic>
        </p:graphicFrame>
        <p:sp>
          <p:nvSpPr>
            <p:cNvPr id="39" name="TextBox 38"/>
            <p:cNvSpPr txBox="1"/>
            <p:nvPr/>
          </p:nvSpPr>
          <p:spPr>
            <a:xfrm>
              <a:off x="3080792" y="3068960"/>
              <a:ext cx="465753" cy="246221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spAutoFit/>
            </a:bodyPr>
            <a:lstStyle/>
            <a:p>
              <a:pPr algn="l"/>
              <a:r>
                <a:rPr lang="en-US" sz="1000" dirty="0" smtClean="0">
                  <a:latin typeface="Verdana"/>
                  <a:cs typeface="Verdana"/>
                </a:rPr>
                <a:t>100</a:t>
              </a:r>
              <a:endParaRPr lang="ru-RU" sz="1000" dirty="0" smtClean="0">
                <a:latin typeface="Verdana"/>
                <a:cs typeface="Verdana"/>
              </a:endParaRPr>
            </a:p>
          </p:txBody>
        </p:sp>
      </p:grpSp>
      <p:sp>
        <p:nvSpPr>
          <p:cNvPr id="44" name="Объект 3"/>
          <p:cNvSpPr txBox="1">
            <a:spLocks/>
          </p:cNvSpPr>
          <p:nvPr/>
        </p:nvSpPr>
        <p:spPr>
          <a:xfrm>
            <a:off x="5901379" y="2328018"/>
            <a:ext cx="2890664" cy="3405238"/>
          </a:xfrm>
          <a:prstGeom prst="rect">
            <a:avLst/>
          </a:prstGeom>
          <a:noFill/>
          <a:ln>
            <a:solidFill>
              <a:schemeClr val="tx2">
                <a:lumMod val="75000"/>
                <a:lumOff val="25000"/>
              </a:schemeClr>
            </a:solidFill>
          </a:ln>
        </p:spPr>
        <p:txBody>
          <a:bodyPr>
            <a:normAutofit fontScale="92500" lnSpcReduction="10000"/>
          </a:bodyPr>
          <a:lstStyle>
            <a:lvl1pPr marL="341313" indent="-341313" algn="l" defTabSz="454025" rtl="0" fontAlgn="base">
              <a:lnSpc>
                <a:spcPts val="2125"/>
              </a:lnSpc>
              <a:spcBef>
                <a:spcPct val="20000"/>
              </a:spcBef>
              <a:spcAft>
                <a:spcPct val="0"/>
              </a:spcAft>
              <a:buFont typeface="Arial" charset="0"/>
              <a:defRPr kumimoji="1" sz="1100" kern="1200">
                <a:solidFill>
                  <a:schemeClr val="tx1"/>
                </a:solidFill>
                <a:latin typeface="Helvetica Neue"/>
                <a:ea typeface="Arial" charset="0"/>
                <a:cs typeface="Helvetica Neue"/>
              </a:defRPr>
            </a:lvl1pPr>
            <a:lvl2pPr marL="739775" indent="-282575" algn="l" defTabSz="45402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800" kern="1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1139825" indent="-225425" algn="l" defTabSz="45402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1597025" indent="-225425" algn="l" defTabSz="45402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umimoji="1" sz="2000" kern="1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2052638" indent="-225425" algn="l" defTabSz="45402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 kern="1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2512637" indent="-228422" algn="l" defTabSz="45684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479" indent="-228422" algn="l" defTabSz="45684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324" indent="-228422" algn="l" defTabSz="45684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166" indent="-228422" algn="l" defTabSz="456842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5350">
              <a:buClr>
                <a:schemeClr val="bg1"/>
              </a:buClr>
            </a:pPr>
            <a:endParaRPr lang="ru-RU" sz="1600" b="1" dirty="0" smtClean="0">
              <a:solidFill>
                <a:schemeClr val="tx2">
                  <a:lumMod val="75000"/>
                  <a:lumOff val="25000"/>
                </a:schemeClr>
              </a:solidFill>
              <a:latin typeface="Verdana"/>
              <a:cs typeface="Verdana"/>
            </a:endParaRPr>
          </a:p>
          <a:p>
            <a:pPr marL="0" indent="0" defTabSz="895350">
              <a:lnSpc>
                <a:spcPct val="150000"/>
              </a:lnSpc>
              <a:buClr>
                <a:schemeClr val="bg1"/>
              </a:buClr>
            </a:pP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Москва уступает мировым мегаполисам по обеспеченности жильем почти в </a:t>
            </a:r>
            <a:r>
              <a:rPr lang="en-US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2</a:t>
            </a: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 раза,  офисами и автодорогами в 3-</a:t>
            </a:r>
            <a:r>
              <a:rPr lang="en-US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5 </a:t>
            </a: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раз, при этом в </a:t>
            </a:r>
            <a:r>
              <a:rPr lang="en-US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2 </a:t>
            </a: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раза опережая по </a:t>
            </a:r>
            <a:r>
              <a:rPr lang="ru-RU" sz="16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п</a:t>
            </a: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лотности населения</a:t>
            </a:r>
            <a:endParaRPr lang="ru-RU" sz="1600" b="1" dirty="0">
              <a:solidFill>
                <a:schemeClr val="tx2">
                  <a:lumMod val="75000"/>
                  <a:lumOff val="25000"/>
                </a:schemeClr>
              </a:solidFill>
              <a:latin typeface="Verdana"/>
              <a:cs typeface="Verdana"/>
            </a:endParaRPr>
          </a:p>
        </p:txBody>
      </p:sp>
      <p:pic>
        <p:nvPicPr>
          <p:cNvPr id="45" name="Изображение 7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Изображение 8" descr="gerb.pn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1786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Сравнительный анализ улично-дорожной сети в мировых мегаполисах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4D8E078F-C780-1448-B644-99E10216B886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4" name="Изображение 10"/>
          <p:cNvPicPr>
            <a:picLocks noChangeAspect="1"/>
          </p:cNvPicPr>
          <p:nvPr/>
        </p:nvPicPr>
        <p:blipFill rotWithShape="1">
          <a:blip r:embed="rId2"/>
          <a:srcRect l="7670" t="8657" r="5783" b="70085"/>
          <a:stretch/>
        </p:blipFill>
        <p:spPr>
          <a:xfrm>
            <a:off x="583865" y="1389139"/>
            <a:ext cx="2704981" cy="1270784"/>
          </a:xfrm>
          <a:prstGeom prst="rect">
            <a:avLst/>
          </a:prstGeom>
        </p:spPr>
      </p:pic>
      <p:pic>
        <p:nvPicPr>
          <p:cNvPr id="5" name="Изображение 10"/>
          <p:cNvPicPr>
            <a:picLocks noChangeAspect="1"/>
          </p:cNvPicPr>
          <p:nvPr/>
        </p:nvPicPr>
        <p:blipFill rotWithShape="1">
          <a:blip r:embed="rId2"/>
          <a:srcRect l="7670" t="41032" r="8447" b="37368"/>
          <a:stretch/>
        </p:blipFill>
        <p:spPr>
          <a:xfrm>
            <a:off x="3447743" y="1412777"/>
            <a:ext cx="2505914" cy="1234189"/>
          </a:xfrm>
          <a:prstGeom prst="rect">
            <a:avLst/>
          </a:prstGeom>
        </p:spPr>
      </p:pic>
      <p:pic>
        <p:nvPicPr>
          <p:cNvPr id="6" name="Изображение 10"/>
          <p:cNvPicPr>
            <a:picLocks noChangeAspect="1"/>
          </p:cNvPicPr>
          <p:nvPr/>
        </p:nvPicPr>
        <p:blipFill rotWithShape="1">
          <a:blip r:embed="rId2"/>
          <a:srcRect l="7004" t="74102" r="7781" b="-1"/>
          <a:stretch/>
        </p:blipFill>
        <p:spPr>
          <a:xfrm>
            <a:off x="6094832" y="1390496"/>
            <a:ext cx="2449650" cy="126942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62993" y="1037611"/>
            <a:ext cx="2529536" cy="329155"/>
          </a:xfrm>
          <a:prstGeom prst="rect">
            <a:avLst/>
          </a:prstGeom>
          <a:noFill/>
        </p:spPr>
        <p:txBody>
          <a:bodyPr wrap="square" lIns="68415" tIns="34208" rIns="68415" bIns="34208" rtlCol="0">
            <a:spAutoFit/>
          </a:bodyPr>
          <a:lstStyle/>
          <a:p>
            <a:pPr algn="ctr">
              <a:lnSpc>
                <a:spcPct val="130000"/>
              </a:lnSpc>
              <a:buClr>
                <a:schemeClr val="accent6">
                  <a:lumMod val="75000"/>
                </a:schemeClr>
              </a:buClr>
            </a:pPr>
            <a:r>
              <a:rPr lang="ru-RU" sz="1300" dirty="0">
                <a:latin typeface="Verdana"/>
                <a:cs typeface="Verdana"/>
              </a:rPr>
              <a:t>Нью-</a:t>
            </a:r>
            <a:r>
              <a:rPr lang="ru-RU" sz="1300" dirty="0" smtClean="0">
                <a:latin typeface="Verdana"/>
                <a:cs typeface="Verdana"/>
              </a:rPr>
              <a:t>Йорк</a:t>
            </a:r>
            <a:endParaRPr lang="ru-RU" sz="1300" dirty="0">
              <a:solidFill>
                <a:schemeClr val="accent6"/>
              </a:solidFill>
              <a:latin typeface="Verdana"/>
              <a:cs typeface="Verdan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67264" y="1081678"/>
            <a:ext cx="2529536" cy="329155"/>
          </a:xfrm>
          <a:prstGeom prst="rect">
            <a:avLst/>
          </a:prstGeom>
          <a:noFill/>
        </p:spPr>
        <p:txBody>
          <a:bodyPr wrap="square" lIns="68415" tIns="34208" rIns="68415" bIns="34208" rtlCol="0">
            <a:spAutoFit/>
          </a:bodyPr>
          <a:lstStyle/>
          <a:p>
            <a:pPr algn="ctr">
              <a:lnSpc>
                <a:spcPct val="130000"/>
              </a:lnSpc>
              <a:buClr>
                <a:schemeClr val="accent6">
                  <a:lumMod val="75000"/>
                </a:schemeClr>
              </a:buClr>
            </a:pPr>
            <a:r>
              <a:rPr lang="ru-RU" sz="1300" dirty="0" smtClean="0">
                <a:latin typeface="Verdana"/>
                <a:cs typeface="Verdana"/>
              </a:rPr>
              <a:t>Вашингтон</a:t>
            </a:r>
            <a:endParaRPr lang="ru-RU" sz="1300" dirty="0">
              <a:solidFill>
                <a:schemeClr val="accent6"/>
              </a:solidFill>
              <a:latin typeface="Verdana"/>
              <a:cs typeface="Verdan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90114" y="1035040"/>
            <a:ext cx="2529536" cy="329155"/>
          </a:xfrm>
          <a:prstGeom prst="rect">
            <a:avLst/>
          </a:prstGeom>
          <a:noFill/>
        </p:spPr>
        <p:txBody>
          <a:bodyPr wrap="square" lIns="68415" tIns="34208" rIns="68415" bIns="34208" rtlCol="0">
            <a:spAutoFit/>
          </a:bodyPr>
          <a:lstStyle/>
          <a:p>
            <a:pPr algn="ctr">
              <a:lnSpc>
                <a:spcPct val="130000"/>
              </a:lnSpc>
              <a:buClr>
                <a:schemeClr val="accent6">
                  <a:lumMod val="75000"/>
                </a:schemeClr>
              </a:buClr>
            </a:pPr>
            <a:r>
              <a:rPr lang="ru-RU" sz="1300" dirty="0" smtClean="0">
                <a:latin typeface="Verdana"/>
                <a:cs typeface="Verdana"/>
              </a:rPr>
              <a:t>Москва</a:t>
            </a:r>
            <a:endParaRPr lang="ru-RU" sz="1300" dirty="0">
              <a:solidFill>
                <a:schemeClr val="accent6"/>
              </a:solidFill>
              <a:latin typeface="Verdana"/>
              <a:cs typeface="Verdana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99204" y="6309321"/>
            <a:ext cx="75615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Индекс времени поездки на автомобиле (</a:t>
            </a:r>
            <a:r>
              <a:rPr lang="en-US" sz="14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TTI) </a:t>
            </a:r>
            <a:r>
              <a:rPr lang="ru-RU" sz="14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на конец 2012 г.: </a:t>
            </a:r>
            <a:r>
              <a:rPr lang="en-US" sz="14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 2.07 </a:t>
            </a:r>
            <a:endParaRPr lang="ru-RU" sz="1400" b="1" dirty="0">
              <a:solidFill>
                <a:schemeClr val="tx2">
                  <a:lumMod val="75000"/>
                  <a:lumOff val="25000"/>
                </a:schemeClr>
              </a:solidFill>
              <a:latin typeface="Verdana"/>
              <a:cs typeface="Verdana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17396" y="2924944"/>
            <a:ext cx="398813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/>
              <a:buChar char="•"/>
            </a:pPr>
            <a:r>
              <a:rPr kumimoji="0" lang="ru-RU" sz="14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ea typeface="Times New Roman" pitchFamily="18" charset="0"/>
                <a:cs typeface="Verdana"/>
              </a:rPr>
              <a:t>Плотность улично-дорожной сети Москвы</a:t>
            </a:r>
            <a:r>
              <a:rPr kumimoji="0" lang="ru-RU" sz="1400" dirty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ea typeface="Times New Roman" pitchFamily="18" charset="0"/>
                <a:cs typeface="Verdana"/>
              </a:rPr>
              <a:t> </a:t>
            </a:r>
            <a:r>
              <a:rPr kumimoji="0" lang="ru-RU" sz="1400" dirty="0">
                <a:latin typeface="Verdana"/>
                <a:ea typeface="Times New Roman" pitchFamily="18" charset="0"/>
                <a:cs typeface="Verdana"/>
              </a:rPr>
              <a:t>– 4,2 км</a:t>
            </a:r>
            <a:r>
              <a:rPr kumimoji="0" lang="ru-RU" sz="1400" dirty="0" smtClean="0">
                <a:latin typeface="Verdana"/>
                <a:ea typeface="Times New Roman" pitchFamily="18" charset="0"/>
                <a:cs typeface="Verdana"/>
              </a:rPr>
              <a:t>/км</a:t>
            </a:r>
            <a:r>
              <a:rPr kumimoji="0" lang="en-US" sz="1400" baseline="30000" dirty="0" smtClean="0">
                <a:latin typeface="Verdana"/>
                <a:ea typeface="Times New Roman" pitchFamily="18" charset="0"/>
                <a:cs typeface="Verdana"/>
              </a:rPr>
              <a:t>2</a:t>
            </a:r>
            <a:r>
              <a:rPr kumimoji="0" lang="ru-RU" sz="1400" dirty="0" smtClean="0">
                <a:latin typeface="Verdana"/>
                <a:ea typeface="Times New Roman" pitchFamily="18" charset="0"/>
                <a:cs typeface="Verdana"/>
              </a:rPr>
              <a:t>, </a:t>
            </a:r>
            <a:r>
              <a:rPr kumimoji="0" lang="ru-RU" sz="1400" dirty="0">
                <a:latin typeface="Verdana"/>
                <a:ea typeface="Times New Roman" pitchFamily="18" charset="0"/>
                <a:cs typeface="Verdana"/>
              </a:rPr>
              <a:t>в том числе магистральной сети – 1,54 км</a:t>
            </a:r>
            <a:r>
              <a:rPr kumimoji="0" lang="ru-RU" sz="1400" dirty="0" smtClean="0">
                <a:latin typeface="Verdana"/>
                <a:ea typeface="Times New Roman" pitchFamily="18" charset="0"/>
                <a:cs typeface="Verdana"/>
              </a:rPr>
              <a:t>/км</a:t>
            </a:r>
            <a:r>
              <a:rPr kumimoji="0" lang="en-US" sz="1400" baseline="30000" dirty="0" smtClean="0">
                <a:latin typeface="Verdana"/>
                <a:ea typeface="Times New Roman" pitchFamily="18" charset="0"/>
                <a:cs typeface="Verdana"/>
              </a:rPr>
              <a:t>2</a:t>
            </a:r>
            <a:endParaRPr kumimoji="0" lang="en-US" sz="1400" baseline="30000" dirty="0">
              <a:latin typeface="Verdana"/>
              <a:ea typeface="Times New Roman" pitchFamily="18" charset="0"/>
              <a:cs typeface="Verdana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771407" y="2924944"/>
            <a:ext cx="398813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Verdana"/>
                <a:cs typeface="Verdana"/>
              </a:rPr>
              <a:t>Обеспеченность дорогами </a:t>
            </a:r>
            <a:r>
              <a:rPr lang="ru-RU" sz="1400" dirty="0">
                <a:latin typeface="Verdana"/>
                <a:cs typeface="Verdana"/>
              </a:rPr>
              <a:t>(</a:t>
            </a:r>
            <a:r>
              <a:rPr lang="ru-RU" sz="1400" dirty="0" smtClean="0">
                <a:latin typeface="Verdana"/>
                <a:cs typeface="Verdana"/>
              </a:rPr>
              <a:t>м.</a:t>
            </a:r>
            <a:r>
              <a:rPr lang="ru-RU" sz="1400" dirty="0">
                <a:latin typeface="Verdana"/>
                <a:cs typeface="Verdana"/>
              </a:rPr>
              <a:t>/тыс. чел</a:t>
            </a:r>
            <a:r>
              <a:rPr lang="ru-RU" sz="1400" dirty="0" smtClean="0">
                <a:latin typeface="Verdana"/>
                <a:cs typeface="Verdana"/>
              </a:rPr>
              <a:t>)</a:t>
            </a:r>
            <a:endParaRPr lang="ru-RU" sz="1400" dirty="0">
              <a:latin typeface="Verdana"/>
              <a:cs typeface="Verdana"/>
            </a:endParaRPr>
          </a:p>
        </p:txBody>
      </p:sp>
      <p:graphicFrame>
        <p:nvGraphicFramePr>
          <p:cNvPr id="37" name="Диаграмма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121650"/>
              </p:ext>
            </p:extLst>
          </p:nvPr>
        </p:nvGraphicFramePr>
        <p:xfrm>
          <a:off x="741332" y="3757555"/>
          <a:ext cx="3540262" cy="2303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881531" y="5955387"/>
            <a:ext cx="10070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>
              <a:buFont typeface="Arial"/>
              <a:buChar char="•"/>
            </a:pPr>
            <a:r>
              <a:rPr kumimoji="0" lang="ru-RU" sz="1200" dirty="0">
                <a:latin typeface="Verdana"/>
                <a:ea typeface="Times New Roman" pitchFamily="18" charset="0"/>
                <a:cs typeface="Verdana"/>
              </a:rPr>
              <a:t>км/км</a:t>
            </a:r>
            <a:r>
              <a:rPr kumimoji="0" lang="en-US" sz="1200" baseline="30000" dirty="0">
                <a:latin typeface="Verdana"/>
                <a:ea typeface="Times New Roman" pitchFamily="18" charset="0"/>
                <a:cs typeface="Verdana"/>
              </a:rPr>
              <a:t>2</a:t>
            </a:r>
          </a:p>
        </p:txBody>
      </p:sp>
      <p:graphicFrame>
        <p:nvGraphicFramePr>
          <p:cNvPr id="40" name="Диаграмма 39"/>
          <p:cNvGraphicFramePr/>
          <p:nvPr>
            <p:extLst>
              <p:ext uri="{D42A27DB-BD31-4B8C-83A1-F6EECF244321}">
                <p14:modId xmlns:p14="http://schemas.microsoft.com/office/powerpoint/2010/main" val="85899355"/>
              </p:ext>
            </p:extLst>
          </p:nvPr>
        </p:nvGraphicFramePr>
        <p:xfrm>
          <a:off x="5369627" y="3508996"/>
          <a:ext cx="2791695" cy="2561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1" name="Прямоугольник 40"/>
          <p:cNvSpPr/>
          <p:nvPr/>
        </p:nvSpPr>
        <p:spPr>
          <a:xfrm>
            <a:off x="6485588" y="5955386"/>
            <a:ext cx="1167307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00" dirty="0">
                <a:latin typeface="Verdana"/>
                <a:cs typeface="Verdana"/>
              </a:rPr>
              <a:t>м./тыс. чел</a:t>
            </a:r>
            <a:endParaRPr lang="ru-RU" sz="1300" dirty="0"/>
          </a:p>
        </p:txBody>
      </p:sp>
      <p:pic>
        <p:nvPicPr>
          <p:cNvPr id="17" name="Изображение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Изображение 8" descr="gerb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8142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569" y="332656"/>
            <a:ext cx="9193081" cy="6525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Изображение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Изображение 8" descr="ger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1253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664"/>
            <a:ext cx="9143999" cy="6234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7884368" y="6381328"/>
            <a:ext cx="1080120" cy="4766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Изображение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Изображение 8" descr="ger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10650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404664"/>
            <a:ext cx="9029213" cy="64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Изображение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Изображение 8" descr="ger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8727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-9625" y="387550"/>
            <a:ext cx="9153626" cy="64704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0422" name="Picture 6" descr="СущПол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3" t="10806" r="2712" b="6246"/>
          <a:stretch/>
        </p:blipFill>
        <p:spPr bwMode="auto">
          <a:xfrm>
            <a:off x="178726" y="827171"/>
            <a:ext cx="5167717" cy="6030827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3" name="Picture 7" descr="Усл_1_СущПол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72" t="14355" r="4238" b="26965"/>
          <a:stretch/>
        </p:blipFill>
        <p:spPr bwMode="auto">
          <a:xfrm>
            <a:off x="6009640" y="952072"/>
            <a:ext cx="2920192" cy="2776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24" name="Picture 8" descr="Усл_2_СущПол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72" t="36364" r="17821" b="40274"/>
          <a:stretch/>
        </p:blipFill>
        <p:spPr bwMode="auto">
          <a:xfrm>
            <a:off x="5756983" y="3699775"/>
            <a:ext cx="3367768" cy="808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Изображение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Изображение 8" descr="gerb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174038" y="1588"/>
            <a:ext cx="762000" cy="366712"/>
          </a:xfrm>
        </p:spPr>
        <p:txBody>
          <a:bodyPr vert="horz" anchor="b"/>
          <a:lstStyle/>
          <a:p>
            <a:pPr algn="r"/>
            <a:fld id="{A1A44D51-274A-48FA-ABC1-4371BF704371}" type="slidenum">
              <a:rPr lang="ru-RU" sz="1800">
                <a:solidFill>
                  <a:srgbClr val="FFFFFF"/>
                </a:solidFill>
              </a:rPr>
              <a:pPr algn="r"/>
              <a:t>7</a:t>
            </a:fld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0" y="387550"/>
            <a:ext cx="9144000" cy="4396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1600" b="1" dirty="0" smtClean="0"/>
              <a:t>Существующее использование </a:t>
            </a:r>
            <a:r>
              <a:rPr lang="ru-RU" sz="1600" b="1" dirty="0"/>
              <a:t>участков </a:t>
            </a:r>
            <a:r>
              <a:rPr lang="ru-RU" sz="1600" b="1" dirty="0" smtClean="0"/>
              <a:t>территорий вдоль </a:t>
            </a:r>
            <a:br>
              <a:rPr lang="ru-RU" sz="1600" b="1" dirty="0" smtClean="0"/>
            </a:br>
            <a:r>
              <a:rPr lang="ru-RU" sz="1600" b="1" dirty="0" smtClean="0"/>
              <a:t>четырех </a:t>
            </a:r>
            <a:r>
              <a:rPr lang="ru-RU" sz="1600" b="1" dirty="0" smtClean="0"/>
              <a:t>железнодорожных направлений (в границах г. Москвы)</a:t>
            </a:r>
            <a:endParaRPr lang="ru-RU" sz="1600" b="1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3951386"/>
              </p:ext>
            </p:extLst>
          </p:nvPr>
        </p:nvGraphicFramePr>
        <p:xfrm>
          <a:off x="4831883" y="4653815"/>
          <a:ext cx="4292868" cy="21945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29064"/>
                <a:gridCol w="1063804"/>
              </a:tblGrid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</a:rPr>
                        <a:t>Использование территории</a:t>
                      </a:r>
                      <a:endParaRPr lang="ru-RU" sz="1200" b="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%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Функциональные зоны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- производственные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54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- жилые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</a:rPr>
                        <a:t>7</a:t>
                      </a:r>
                      <a:endParaRPr lang="ru-RU" sz="1200" b="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- общественные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7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</a:rPr>
                        <a:t>- природные и </a:t>
                      </a:r>
                      <a:r>
                        <a:rPr lang="ru-RU" sz="1200" b="0" dirty="0" smtClean="0">
                          <a:effectLst/>
                        </a:rPr>
                        <a:t>озеленительные</a:t>
                      </a:r>
                      <a:endParaRPr lang="ru-RU" sz="1200" b="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6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- общественно-производственные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4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- общественно-жилые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менее 1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Территории инфраструктуры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- улицы и дороги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11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- водные поверхности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</a:rPr>
                        <a:t>менее 1</a:t>
                      </a:r>
                      <a:endParaRPr lang="ru-RU" sz="1200" b="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</a:rPr>
                        <a:t>- прочие</a:t>
                      </a:r>
                      <a:endParaRPr lang="ru-RU" sz="1200" b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</a:rPr>
                        <a:t>11</a:t>
                      </a:r>
                      <a:endParaRPr lang="ru-RU" sz="1200" b="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8696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0" y="857830"/>
            <a:ext cx="9144000" cy="600017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6576" name="Picture 16" descr="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589" y="867456"/>
            <a:ext cx="7612063" cy="5990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579" name="AutoShape 19"/>
          <p:cNvSpPr>
            <a:spLocks noChangeArrowheads="1"/>
          </p:cNvSpPr>
          <p:nvPr/>
        </p:nvSpPr>
        <p:spPr bwMode="auto">
          <a:xfrm>
            <a:off x="5908903" y="4098018"/>
            <a:ext cx="977446" cy="257402"/>
          </a:xfrm>
          <a:prstGeom prst="wedgeRectCallout">
            <a:avLst>
              <a:gd name="adj1" fmla="val -80046"/>
              <a:gd name="adj2" fmla="val 15044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ru-RU" sz="1100" b="1"/>
              <a:t>3</a:t>
            </a:r>
            <a:r>
              <a:rPr lang="en-US" sz="1100" b="1"/>
              <a:t>7</a:t>
            </a:r>
            <a:r>
              <a:rPr lang="ru-RU" sz="1100" b="1"/>
              <a:t>00 - </a:t>
            </a:r>
            <a:r>
              <a:rPr lang="en-US" sz="1100" b="1"/>
              <a:t>27</a:t>
            </a:r>
            <a:r>
              <a:rPr lang="ru-RU" sz="1100" b="1"/>
              <a:t>00</a:t>
            </a:r>
          </a:p>
        </p:txBody>
      </p:sp>
      <p:sp>
        <p:nvSpPr>
          <p:cNvPr id="66580" name="AutoShape 20"/>
          <p:cNvSpPr>
            <a:spLocks noChangeArrowheads="1"/>
          </p:cNvSpPr>
          <p:nvPr/>
        </p:nvSpPr>
        <p:spPr bwMode="auto">
          <a:xfrm>
            <a:off x="4211411" y="1783670"/>
            <a:ext cx="977446" cy="257401"/>
          </a:xfrm>
          <a:prstGeom prst="wedgeRectCallout">
            <a:avLst>
              <a:gd name="adj1" fmla="val 41069"/>
              <a:gd name="adj2" fmla="val 284361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ru-RU" sz="1100" b="1"/>
              <a:t>6500 - </a:t>
            </a:r>
            <a:r>
              <a:rPr lang="en-US" sz="1100" b="1"/>
              <a:t>14</a:t>
            </a:r>
            <a:r>
              <a:rPr lang="ru-RU" sz="1100" b="1"/>
              <a:t>00</a:t>
            </a:r>
          </a:p>
        </p:txBody>
      </p:sp>
      <p:sp>
        <p:nvSpPr>
          <p:cNvPr id="66581" name="AutoShape 21"/>
          <p:cNvSpPr>
            <a:spLocks noChangeArrowheads="1"/>
          </p:cNvSpPr>
          <p:nvPr/>
        </p:nvSpPr>
        <p:spPr bwMode="auto">
          <a:xfrm>
            <a:off x="1383393" y="2503715"/>
            <a:ext cx="977446" cy="257402"/>
          </a:xfrm>
          <a:prstGeom prst="wedgeRectCallout">
            <a:avLst>
              <a:gd name="adj1" fmla="val 58699"/>
              <a:gd name="adj2" fmla="val 399338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/>
              <a:t>36</a:t>
            </a:r>
            <a:r>
              <a:rPr lang="ru-RU" sz="1100" b="1"/>
              <a:t>00 - </a:t>
            </a:r>
            <a:r>
              <a:rPr lang="en-US" sz="1100" b="1"/>
              <a:t>16</a:t>
            </a:r>
            <a:r>
              <a:rPr lang="ru-RU" sz="1100" b="1"/>
              <a:t>00</a:t>
            </a:r>
          </a:p>
        </p:txBody>
      </p:sp>
      <p:sp>
        <p:nvSpPr>
          <p:cNvPr id="66582" name="AutoShape 22"/>
          <p:cNvSpPr>
            <a:spLocks noChangeArrowheads="1"/>
          </p:cNvSpPr>
          <p:nvPr/>
        </p:nvSpPr>
        <p:spPr bwMode="auto">
          <a:xfrm>
            <a:off x="5137831" y="5023304"/>
            <a:ext cx="977446" cy="257402"/>
          </a:xfrm>
          <a:prstGeom prst="wedgeRectCallout">
            <a:avLst>
              <a:gd name="adj1" fmla="val -85963"/>
              <a:gd name="adj2" fmla="val 96694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/>
              <a:t>46</a:t>
            </a:r>
            <a:r>
              <a:rPr lang="ru-RU" sz="1100" b="1"/>
              <a:t>00 - 2</a:t>
            </a:r>
            <a:r>
              <a:rPr lang="en-US" sz="1100" b="1"/>
              <a:t>6</a:t>
            </a:r>
            <a:r>
              <a:rPr lang="ru-RU" sz="1100" b="1"/>
              <a:t>00</a:t>
            </a:r>
          </a:p>
        </p:txBody>
      </p:sp>
      <p:sp>
        <p:nvSpPr>
          <p:cNvPr id="66583" name="Rectangle 23"/>
          <p:cNvSpPr>
            <a:spLocks noChangeArrowheads="1"/>
          </p:cNvSpPr>
          <p:nvPr/>
        </p:nvSpPr>
        <p:spPr bwMode="auto">
          <a:xfrm>
            <a:off x="6577919" y="1242204"/>
            <a:ext cx="2566081" cy="179047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5306" tIns="32653" rIns="65306" bIns="32653" anchor="ctr"/>
          <a:lstStyle/>
          <a:p>
            <a:endParaRPr lang="ru-RU"/>
          </a:p>
        </p:txBody>
      </p:sp>
      <p:pic>
        <p:nvPicPr>
          <p:cNvPr id="66584" name="Picture 24" descr="_Условные Загрузки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422" y="1280195"/>
            <a:ext cx="2211161" cy="1077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585" name="AutoShape 25"/>
          <p:cNvSpPr>
            <a:spLocks noChangeArrowheads="1"/>
          </p:cNvSpPr>
          <p:nvPr/>
        </p:nvSpPr>
        <p:spPr bwMode="auto">
          <a:xfrm>
            <a:off x="6628947" y="2428108"/>
            <a:ext cx="861732" cy="257401"/>
          </a:xfrm>
          <a:prstGeom prst="wedgeRectCallout">
            <a:avLst>
              <a:gd name="adj1" fmla="val -28458"/>
              <a:gd name="adj2" fmla="val 94349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ru-RU" sz="1050" b="1"/>
              <a:t>3600 - 3200</a:t>
            </a:r>
          </a:p>
        </p:txBody>
      </p:sp>
      <p:sp>
        <p:nvSpPr>
          <p:cNvPr id="66586" name="Rectangle 26"/>
          <p:cNvSpPr>
            <a:spLocks/>
          </p:cNvSpPr>
          <p:nvPr/>
        </p:nvSpPr>
        <p:spPr bwMode="auto">
          <a:xfrm>
            <a:off x="7490679" y="2392930"/>
            <a:ext cx="1440089" cy="508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96" tIns="45597" rIns="91196" bIns="45597" anchor="ctr"/>
          <a:lstStyle/>
          <a:p>
            <a:pPr eaLnBrk="0" hangingPunct="0"/>
            <a:r>
              <a:rPr lang="ru-RU" sz="700" b="1" dirty="0">
                <a:ea typeface="Arial" pitchFamily="34" charset="0"/>
                <a:cs typeface="Verdana" pitchFamily="34" charset="0"/>
              </a:rPr>
              <a:t>Размеры движения на магистралях в утренний час пик в одном направлении.</a:t>
            </a:r>
            <a:br>
              <a:rPr lang="ru-RU" sz="700" b="1" dirty="0">
                <a:ea typeface="Arial" pitchFamily="34" charset="0"/>
                <a:cs typeface="Verdana" pitchFamily="34" charset="0"/>
              </a:rPr>
            </a:br>
            <a:r>
              <a:rPr lang="ru-RU" sz="700" b="1" dirty="0">
                <a:ea typeface="Arial" pitchFamily="34" charset="0"/>
                <a:cs typeface="Verdana" pitchFamily="34" charset="0"/>
              </a:rPr>
              <a:t>(</a:t>
            </a:r>
            <a:r>
              <a:rPr lang="ru-RU" sz="700" b="1" dirty="0" err="1">
                <a:ea typeface="Arial" pitchFamily="34" charset="0"/>
                <a:cs typeface="Verdana" pitchFamily="34" charset="0"/>
              </a:rPr>
              <a:t>прив</a:t>
            </a:r>
            <a:r>
              <a:rPr lang="ru-RU" sz="700" b="1" dirty="0">
                <a:ea typeface="Arial" pitchFamily="34" charset="0"/>
                <a:cs typeface="Verdana" pitchFamily="34" charset="0"/>
              </a:rPr>
              <a:t>. ед./час)</a:t>
            </a:r>
          </a:p>
        </p:txBody>
      </p:sp>
      <p:pic>
        <p:nvPicPr>
          <p:cNvPr id="14" name="Изображение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Изображение 8" descr="ger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174038" y="1588"/>
            <a:ext cx="762000" cy="366712"/>
          </a:xfrm>
        </p:spPr>
        <p:txBody>
          <a:bodyPr vert="horz" anchor="b"/>
          <a:lstStyle/>
          <a:p>
            <a:pPr algn="r"/>
            <a:fld id="{A1A44D51-274A-48FA-ABC1-4371BF704371}" type="slidenum">
              <a:rPr lang="ru-RU" sz="1800">
                <a:solidFill>
                  <a:srgbClr val="FFFFFF"/>
                </a:solidFill>
              </a:rPr>
              <a:pPr algn="r"/>
              <a:t>8</a:t>
            </a:fld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3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387350"/>
            <a:ext cx="9144000" cy="8548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  <a:normAutofit/>
          </a:bodyPr>
          <a:lstStyle/>
          <a:p>
            <a:r>
              <a:rPr lang="ru-RU" sz="1600" b="1" dirty="0"/>
              <a:t>Картограмма</a:t>
            </a:r>
            <a:r>
              <a:rPr lang="ru-RU" sz="1800" b="1" dirty="0"/>
              <a:t> расчетных транспортных потоков на 2020-2025г</a:t>
            </a:r>
            <a:r>
              <a:rPr lang="ru-RU" sz="1800" b="1" dirty="0" smtClean="0"/>
              <a:t>.</a:t>
            </a:r>
            <a:br>
              <a:rPr lang="ru-RU" sz="1800" b="1" dirty="0" smtClean="0"/>
            </a:br>
            <a:r>
              <a:rPr lang="ru-RU" sz="1400" dirty="0" smtClean="0"/>
              <a:t>(вариант без учета строительства вылетных магистралей над железнодорожными путями)</a:t>
            </a:r>
            <a:br>
              <a:rPr lang="ru-RU" sz="1400" dirty="0" smtClean="0"/>
            </a:b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3003834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0" y="857830"/>
            <a:ext cx="9144000" cy="600017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1696" name="Picture 16" descr="_Условные Дельта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1635" y="4818063"/>
            <a:ext cx="1335768" cy="188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99" name="Picture 19" descr="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67" y="1112808"/>
            <a:ext cx="6334125" cy="5745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00" name="AutoShape 20"/>
          <p:cNvSpPr>
            <a:spLocks noChangeArrowheads="1"/>
          </p:cNvSpPr>
          <p:nvPr/>
        </p:nvSpPr>
        <p:spPr bwMode="auto">
          <a:xfrm>
            <a:off x="4057197" y="2118301"/>
            <a:ext cx="565831" cy="257402"/>
          </a:xfrm>
          <a:prstGeom prst="wedgeRectCallout">
            <a:avLst>
              <a:gd name="adj1" fmla="val 54810"/>
              <a:gd name="adj2" fmla="val 216958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 dirty="0"/>
              <a:t>29</a:t>
            </a:r>
            <a:r>
              <a:rPr lang="ru-RU" sz="1100" b="1" dirty="0"/>
              <a:t>00</a:t>
            </a:r>
          </a:p>
        </p:txBody>
      </p:sp>
      <p:sp>
        <p:nvSpPr>
          <p:cNvPr id="71701" name="AutoShape 21"/>
          <p:cNvSpPr>
            <a:spLocks noChangeArrowheads="1"/>
          </p:cNvSpPr>
          <p:nvPr/>
        </p:nvSpPr>
        <p:spPr bwMode="auto">
          <a:xfrm>
            <a:off x="6269492" y="4200072"/>
            <a:ext cx="977446" cy="257402"/>
          </a:xfrm>
          <a:prstGeom prst="wedgeRectCallout">
            <a:avLst>
              <a:gd name="adj1" fmla="val -113343"/>
              <a:gd name="adj2" fmla="val 205065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/>
              <a:t>17</a:t>
            </a:r>
            <a:r>
              <a:rPr lang="ru-RU" sz="1100" b="1"/>
              <a:t>00</a:t>
            </a:r>
          </a:p>
        </p:txBody>
      </p:sp>
      <p:sp>
        <p:nvSpPr>
          <p:cNvPr id="71702" name="AutoShape 22"/>
          <p:cNvSpPr>
            <a:spLocks noChangeArrowheads="1"/>
          </p:cNvSpPr>
          <p:nvPr/>
        </p:nvSpPr>
        <p:spPr bwMode="auto">
          <a:xfrm>
            <a:off x="5188858" y="5538108"/>
            <a:ext cx="977446" cy="257402"/>
          </a:xfrm>
          <a:prstGeom prst="wedgeRectCallout">
            <a:avLst>
              <a:gd name="adj1" fmla="val -114616"/>
              <a:gd name="adj2" fmla="val 55287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/>
              <a:t>15</a:t>
            </a:r>
            <a:r>
              <a:rPr lang="ru-RU" sz="1100" b="1"/>
              <a:t>00</a:t>
            </a:r>
          </a:p>
        </p:txBody>
      </p:sp>
      <p:sp>
        <p:nvSpPr>
          <p:cNvPr id="71703" name="AutoShape 23"/>
          <p:cNvSpPr>
            <a:spLocks noChangeArrowheads="1"/>
          </p:cNvSpPr>
          <p:nvPr/>
        </p:nvSpPr>
        <p:spPr bwMode="auto">
          <a:xfrm>
            <a:off x="1331233" y="2666880"/>
            <a:ext cx="977446" cy="257401"/>
          </a:xfrm>
          <a:prstGeom prst="wedgeRectCallout">
            <a:avLst>
              <a:gd name="adj1" fmla="val 53019"/>
              <a:gd name="adj2" fmla="val 274671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/>
              <a:t>870</a:t>
            </a:r>
            <a:endParaRPr lang="ru-RU" sz="1100" b="1"/>
          </a:p>
        </p:txBody>
      </p:sp>
      <p:sp>
        <p:nvSpPr>
          <p:cNvPr id="71704" name="AutoShape 24"/>
          <p:cNvSpPr>
            <a:spLocks noChangeArrowheads="1"/>
          </p:cNvSpPr>
          <p:nvPr/>
        </p:nvSpPr>
        <p:spPr bwMode="auto">
          <a:xfrm>
            <a:off x="7812768" y="3480027"/>
            <a:ext cx="977446" cy="257401"/>
          </a:xfrm>
          <a:prstGeom prst="wedgeRectCallout">
            <a:avLst>
              <a:gd name="adj1" fmla="val 52319"/>
              <a:gd name="adj2" fmla="val 153963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5306" tIns="32653" rIns="65306" bIns="32653"/>
          <a:lstStyle/>
          <a:p>
            <a:pPr algn="ctr" defTabSz="653064"/>
            <a:r>
              <a:rPr lang="en-US" sz="1100" b="1" dirty="0" smtClean="0"/>
              <a:t>2900</a:t>
            </a:r>
            <a:endParaRPr lang="ru-RU" sz="1100" b="1" dirty="0"/>
          </a:p>
        </p:txBody>
      </p:sp>
      <p:sp>
        <p:nvSpPr>
          <p:cNvPr id="71705" name="Rectangle 25"/>
          <p:cNvSpPr>
            <a:spLocks/>
          </p:cNvSpPr>
          <p:nvPr/>
        </p:nvSpPr>
        <p:spPr bwMode="auto">
          <a:xfrm>
            <a:off x="7452179" y="4011839"/>
            <a:ext cx="1492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96" tIns="45597" rIns="91196" bIns="45597" anchor="ctr"/>
          <a:lstStyle/>
          <a:p>
            <a:pPr algn="r" eaLnBrk="0" hangingPunct="0"/>
            <a:r>
              <a:rPr lang="ru-RU" sz="900" b="1">
                <a:ea typeface="Arial" pitchFamily="34" charset="0"/>
                <a:cs typeface="Verdana" pitchFamily="34" charset="0"/>
              </a:rPr>
              <a:t>Размеры движения на проектируемых магистралях в утренний час пик в одном направлении.</a:t>
            </a:r>
            <a:br>
              <a:rPr lang="ru-RU" sz="900" b="1">
                <a:ea typeface="Arial" pitchFamily="34" charset="0"/>
                <a:cs typeface="Verdana" pitchFamily="34" charset="0"/>
              </a:rPr>
            </a:br>
            <a:r>
              <a:rPr lang="ru-RU" sz="900" b="1">
                <a:ea typeface="Arial" pitchFamily="34" charset="0"/>
                <a:cs typeface="Verdana" pitchFamily="34" charset="0"/>
              </a:rPr>
              <a:t>(прив. ед./час)</a:t>
            </a:r>
          </a:p>
        </p:txBody>
      </p:sp>
      <p:pic>
        <p:nvPicPr>
          <p:cNvPr id="12" name="Изображение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22" y="31102"/>
            <a:ext cx="305049" cy="324000"/>
          </a:xfrm>
          <a:prstGeom prst="rect">
            <a:avLst/>
          </a:prstGeom>
          <a:noFill/>
          <a:ln>
            <a:noFill/>
          </a:ln>
          <a:effectLst>
            <a:glow rad="381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Изображение 8" descr="ger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18" y="28098"/>
            <a:ext cx="267255" cy="359452"/>
          </a:xfrm>
          <a:prstGeom prst="rect">
            <a:avLst/>
          </a:prstGeom>
          <a:noFill/>
          <a:ln>
            <a:noFill/>
          </a:ln>
          <a:effectLst>
            <a:glow rad="88900">
              <a:schemeClr val="bg1">
                <a:alpha val="9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0" y="387550"/>
            <a:ext cx="9144000" cy="7252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36000" rIns="91440" bIns="36000" numCol="1" anchor="b" anchorCtr="0" compatLnSpc="1">
            <a:prstTxWarp prst="textNoShape">
              <a:avLst/>
            </a:prstTxWarp>
            <a:normAutofit fontScale="77500" lnSpcReduction="20000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9pPr>
          </a:lstStyle>
          <a:p>
            <a:pPr>
              <a:lnSpc>
                <a:spcPct val="110000"/>
              </a:lnSpc>
            </a:pPr>
            <a:r>
              <a:rPr lang="ru-RU" sz="2100" dirty="0"/>
              <a:t>Картограмма изменения транспортных потоков на </a:t>
            </a:r>
            <a:r>
              <a:rPr lang="ru-RU" sz="2100" dirty="0" smtClean="0"/>
              <a:t>2020-2025г.</a:t>
            </a:r>
          </a:p>
          <a:p>
            <a:pPr>
              <a:lnSpc>
                <a:spcPct val="110000"/>
              </a:lnSpc>
            </a:pPr>
            <a:r>
              <a:rPr lang="ru-RU" sz="1800" b="0" dirty="0" smtClean="0"/>
              <a:t>(вариант с учетом строительства вылетных магистралей над железнодорожными путями без промежуточных подключений к сети автодорог региона – транзитный вариант)</a:t>
            </a:r>
            <a:endParaRPr lang="ru-RU" sz="1800" b="0" dirty="0"/>
          </a:p>
        </p:txBody>
      </p:sp>
      <p:sp>
        <p:nvSpPr>
          <p:cNvPr id="16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174038" y="1588"/>
            <a:ext cx="762000" cy="366712"/>
          </a:xfrm>
        </p:spPr>
        <p:txBody>
          <a:bodyPr vert="horz" anchor="b"/>
          <a:lstStyle/>
          <a:p>
            <a:pPr algn="r"/>
            <a:fld id="{A1A44D51-274A-48FA-ABC1-4371BF704371}" type="slidenum">
              <a:rPr lang="ru-RU" sz="1800">
                <a:solidFill>
                  <a:srgbClr val="FFFFFF"/>
                </a:solidFill>
              </a:rPr>
              <a:pPr algn="r"/>
              <a:t>9</a:t>
            </a:fld>
            <a:endParaRPr lang="ru-RU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xwqqUNqnEUGhA_jiH_5Kp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aDgz35NEm5cFhqVXqy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0xidipnkqGNR7aSN4s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lhecT66kWzPgXXJ8d2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cVUhqQgUKvm.aAjwji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axqSUhxEG6Im1ZCk.h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c2e3Mkm0Gj5f2e7DF7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z5QEZnKUCGFPi1eUqz_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tq63mrkWDMHRBfAzB5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hsvDlkDEufaQ6VZtlV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VqPOWBpk23_taKQ2jT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c0p5XQPzkKtIaEpkIpW_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qJXbABZEu.q24vQ_tp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1kCrS7mUiZO96cmKWe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.f2vg3FUOtOIJ8_SqY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8yR2rQ3Uqx4qvp7a4F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uMROUUHEWErcgTc5zV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xDYbA6U0CZc1cyPo7V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i.xc3lCE.Oywl0Onb4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Y1GfrgbE6cgUuV5RBF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hO8kqhNECGmE50rPFQ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iAzBshaU6CuPuHslbN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xMMVis2k.MgPbCnAtP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bszLVlP0OOX5GxEL02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AM.qjP7UK.0q8XNLLU7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XGZVrwmEqtVNgrYqTC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XGZVrwmEqtVNgrYqTC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Xn0USPEUqk1zl4Wl.DZ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hbdJvH2kuFISP13h6J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DhBRdpSkuJqi52yCKd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ZipYO4TEKq04NesWbY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QJkTqck0i1GnBN_IcZ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m0y8Pe0UWm53gKVzKZ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Xy1Pl6_kmOiw3rNhnJu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3w0d2Z.U6vJbSRqpl2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W1AK_ajUWszQPVvr.Z6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zd4HKu6U64P6zzJwJP.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9iikA.qEqGEnqdo72K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S4XN.v1Eic1R8_2BzR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kCGcPf_kWtD.xZsnbrX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77WtVw5UuCw6bwZRtl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5Bb0.BikKrzk0EI7mCG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aps3Vock.40v3iK2Vh5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fncCvlckuejY707B4S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1D.17lKEeDGLQJOLK3I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rmbbRbUOrVH4sVT2xa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bldW9tGEavCxYitJMA0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gIViaD0OeIn.IjS41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l..hBrxEK2jQiAFryAu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GSSX5IZ0OuLO8hK22l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ccjMbT6k6nn_Rdaa30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7j4HciukSRLrrShGq30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pYg4EQIE.ihJRMV1V2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jCDz9lwkqIHt2OWIPH_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eUAxBma0yATvWX3AIz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Qncd0A7ku8kRqWFEWiG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cEAc.qHkSSvZeK26u1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whCLqjekCXWu8lqlEH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G_bF4IdUCXOY15l1tkK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HlcwEIa0qdP6Z.RH8D3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cw6RS9ZEivdqq4Ffsfz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boEuE17EiuN4.mkcJT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GvBA0h60Ge_8alzUe1_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Q1nIa4hEqf1Ym9af_W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IxRVwe1UqX6o88o6o9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hbdJvH2kuFISP13h6J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_ThooU_ES_ho1b1dQhs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412</Words>
  <Application>Microsoft Office PowerPoint</Application>
  <PresentationFormat>Экран (4:3)</PresentationFormat>
  <Paragraphs>151</Paragraphs>
  <Slides>10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ртограмма расчетных транспортных потоков на 2020-2025г. (вариант без учета строительства вылетных магистралей над железнодорожными путями)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user</cp:lastModifiedBy>
  <cp:revision>2</cp:revision>
  <dcterms:created xsi:type="dcterms:W3CDTF">2013-09-24T06:42:34Z</dcterms:created>
  <dcterms:modified xsi:type="dcterms:W3CDTF">2013-09-24T07:00:11Z</dcterms:modified>
</cp:coreProperties>
</file>